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16"/>
  </p:sldMasterIdLst>
  <p:notesMasterIdLst>
    <p:notesMasterId r:id="rId23"/>
  </p:notesMasterIdLst>
  <p:handoutMasterIdLst>
    <p:handoutMasterId r:id="rId24"/>
  </p:handoutMasterIdLst>
  <p:sldIdLst>
    <p:sldId id="265631" r:id="rId17"/>
    <p:sldId id="277" r:id="rId18"/>
    <p:sldId id="265634" r:id="rId19"/>
    <p:sldId id="265632" r:id="rId20"/>
    <p:sldId id="265633" r:id="rId21"/>
    <p:sldId id="265635" r:id="rId22"/>
  </p:sldIdLst>
  <p:sldSz cx="12192000" cy="6858000"/>
  <p:notesSz cx="6858000" cy="9144000"/>
  <p:embeddedFontLst>
    <p:embeddedFont>
      <p:font typeface="Noto Sans" panose="020B0502040504020204" pitchFamily="34" charset="0"/>
      <p:regular r:id="rId25"/>
      <p:bold r:id="rId26"/>
      <p:italic r:id="rId27"/>
      <p:boldItalic r:id="rId28"/>
    </p:embeddedFont>
  </p:embeddedFontLst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5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yst layout 1 - Markering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7B26C5-4107-4FEC-AEDC-1716B250A1EF}" styleName="Lyst layou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yst layout 1 - Markerin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7292A2E-F333-43FB-9621-5CBBE7FDCDCB}" styleName="Lyst layout 2 - Markering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D083AE6-46FA-4A59-8FB0-9F97EB10719F}" styleName="Lyst layout 3 - Markering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Lyst layout 2 - Markerin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yst layout 2 - Markering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64" autoAdjust="0"/>
    <p:restoredTop sz="94660"/>
  </p:normalViewPr>
  <p:slideViewPr>
    <p:cSldViewPr snapToGrid="0">
      <p:cViewPr varScale="1">
        <p:scale>
          <a:sx n="128" d="100"/>
          <a:sy n="128" d="100"/>
        </p:scale>
        <p:origin x="432" y="176"/>
      </p:cViewPr>
      <p:guideLst>
        <p:guide orient="horz" pos="4152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" Target="slides/slide2.xml"/><Relationship Id="rId26" Type="http://schemas.openxmlformats.org/officeDocument/2006/relationships/font" Target="fonts/font2.fntdata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1.xml"/><Relationship Id="rId25" Type="http://schemas.openxmlformats.org/officeDocument/2006/relationships/font" Target="fonts/font1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.xml"/><Relationship Id="rId20" Type="http://schemas.openxmlformats.org/officeDocument/2006/relationships/slide" Target="slides/slide4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handoutMaster" Target="handoutMasters/handoutMaster1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10" Type="http://schemas.openxmlformats.org/officeDocument/2006/relationships/customXml" Target="../customXml/item10.xml"/><Relationship Id="rId19" Type="http://schemas.openxmlformats.org/officeDocument/2006/relationships/slide" Target="slides/slide3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6.xml"/><Relationship Id="rId27" Type="http://schemas.openxmlformats.org/officeDocument/2006/relationships/font" Target="fonts/font3.fntdata"/><Relationship Id="rId30" Type="http://schemas.openxmlformats.org/officeDocument/2006/relationships/presProps" Target="presProps.xml"/><Relationship Id="rId8" Type="http://schemas.openxmlformats.org/officeDocument/2006/relationships/customXml" Target="../customXml/item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54657A-DB7C-4792-8F38-D90C0C51FA15}" type="datetimeFigureOut">
              <a:rPr lang="en-GB" smtClean="0"/>
              <a:t>12/08/2022</a:t>
            </a:fld>
            <a:endParaRPr lang="en-GB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D580E4-869C-47B4-97E2-9E4FBD17808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80316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CD72A38B-F9FA-4036-A084-652409E98F08}" type="datetimeFigureOut">
              <a:rPr lang="en-GB" smtClean="0"/>
              <a:pPr/>
              <a:t>12/08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49436F85-577F-4A92-A47F-D540A2BCC82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billede 11"/>
          <p:cNvSpPr>
            <a:spLocks noGrp="1"/>
          </p:cNvSpPr>
          <p:nvPr>
            <p:ph type="pic" sz="quarter" idx="14" hasCustomPrompt="1"/>
          </p:nvPr>
        </p:nvSpPr>
        <p:spPr>
          <a:xfrm>
            <a:off x="330200" y="296862"/>
            <a:ext cx="11528425" cy="5603195"/>
          </a:xfrm>
          <a:solidFill>
            <a:schemeClr val="bg2"/>
          </a:solidFill>
        </p:spPr>
        <p:txBody>
          <a:bodyPr bIns="72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Click on the icon to insert a pictur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30199" y="3228050"/>
            <a:ext cx="5621338" cy="2269671"/>
          </a:xfrm>
          <a:solidFill>
            <a:schemeClr val="accent1"/>
          </a:solidFill>
        </p:spPr>
        <p:txBody>
          <a:bodyPr lIns="360000" tIns="72000" rIns="180000" bIns="72000" anchor="ctr" anchorCtr="0">
            <a:no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13B5315-BFC7-48CF-942F-A41FB2F479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fld id="{F1CD44C5-6B23-48C1-9CBC-DA5D4F557BC5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FAF126D-0BD5-4CC6-BA1F-82AB834E76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AAAFB3B-2789-465E-BD43-3B191009E5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6600BE-BE44-43BD-B0D1-6073E83502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9541" y="6436800"/>
            <a:ext cx="1904236" cy="27879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4D56FC6-049D-4B02-9E61-A1D48C745154}"/>
              </a:ext>
            </a:extLst>
          </p:cNvPr>
          <p:cNvSpPr txBox="1"/>
          <p:nvPr userDrawn="1"/>
        </p:nvSpPr>
        <p:spPr>
          <a:xfrm>
            <a:off x="330200" y="6070905"/>
            <a:ext cx="612438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tx1">
                    <a:lumMod val="100000"/>
                  </a:schemeClr>
                </a:solidFill>
              </a:rPr>
              <a:t>Strictly confidential and proprietary information of WSA Group – DO NOT circulate furth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910462-89F7-4873-8A7C-EA839246B79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12750" y="6332538"/>
            <a:ext cx="5827713" cy="261937"/>
          </a:xfrm>
        </p:spPr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en-US" dirty="0"/>
              <a:t>Department, Author</a:t>
            </a:r>
          </a:p>
        </p:txBody>
      </p:sp>
    </p:spTree>
    <p:extLst>
      <p:ext uri="{BB962C8B-B14F-4D97-AF65-F5344CB8AC3E}">
        <p14:creationId xmlns:p14="http://schemas.microsoft.com/office/powerpoint/2010/main" val="20118664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296863"/>
            <a:ext cx="11530012" cy="1008062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action title (full sentenc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0200" y="1592263"/>
            <a:ext cx="3661516" cy="4465637"/>
          </a:xfrm>
        </p:spPr>
        <p:txBody>
          <a:bodyPr/>
          <a:lstStyle/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201871" y="1592263"/>
            <a:ext cx="3661516" cy="4465637"/>
          </a:xfrm>
        </p:spPr>
        <p:txBody>
          <a:bodyPr/>
          <a:lstStyle/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E6A2F52-247B-47DB-A1F5-0029E2877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5151AC1-E7EC-4803-89BF-1391C7F99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08574" y="6523199"/>
            <a:ext cx="4365332" cy="216361"/>
          </a:xfrm>
        </p:spPr>
        <p:txBody>
          <a:bodyPr anchor="ctr"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F9297089-14EB-4254-B6EC-FF25870EE6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613" y="6164394"/>
            <a:ext cx="5622926" cy="365555"/>
          </a:xfrm>
        </p:spPr>
        <p:txBody>
          <a:bodyPr anchor="t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buNone/>
              <a:defRPr sz="1000"/>
            </a:lvl2pPr>
            <a:lvl3pPr marL="0" indent="0">
              <a:lnSpc>
                <a:spcPct val="110000"/>
              </a:lnSpc>
              <a:buNone/>
              <a:defRPr sz="1000"/>
            </a:lvl3pPr>
            <a:lvl4pPr marL="0" indent="0">
              <a:lnSpc>
                <a:spcPct val="110000"/>
              </a:lnSpc>
              <a:buNone/>
              <a:defRPr sz="1000"/>
            </a:lvl4pPr>
            <a:lvl5pPr marL="0" indent="0">
              <a:lnSpc>
                <a:spcPct val="110000"/>
              </a:lnSpc>
              <a:buNone/>
              <a:defRPr sz="1000"/>
            </a:lvl5pPr>
          </a:lstStyle>
          <a:p>
            <a:pPr lvl="0"/>
            <a:r>
              <a:rPr lang="en-US" dirty="0"/>
              <a:t>Click to add note text, use | to divide not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CC2D862-0C58-4FEF-A5A8-5A6CD9F4D2F8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4266037" y="1592263"/>
            <a:ext cx="3661516" cy="4465637"/>
          </a:xfrm>
        </p:spPr>
        <p:txBody>
          <a:bodyPr/>
          <a:lstStyle/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1705949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296863"/>
            <a:ext cx="11530012" cy="1008062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action title (full sentenc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0201" y="1592262"/>
            <a:ext cx="5621337" cy="4465637"/>
          </a:xfrm>
        </p:spPr>
        <p:txBody>
          <a:bodyPr/>
          <a:lstStyle/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  <a:p>
            <a:pPr lvl="3"/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CD30D28-CFCB-477B-AF4A-C0D9D1BC57B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40463" y="1592262"/>
            <a:ext cx="5619750" cy="4465638"/>
          </a:xfrm>
        </p:spPr>
        <p:txBody>
          <a:bodyPr bIns="72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Click on the icon to insert a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905CA0-BD8C-4F71-93A4-AE73293A561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872079-E3E7-4639-926F-05F1E83EEDB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008574" y="6523199"/>
            <a:ext cx="4365332" cy="216361"/>
          </a:xfrm>
        </p:spPr>
        <p:txBody>
          <a:bodyPr anchor="ctr"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D4EFE8C4-5D7B-4B07-86D1-88D5AF2C46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3" y="6164394"/>
            <a:ext cx="5622926" cy="365555"/>
          </a:xfrm>
        </p:spPr>
        <p:txBody>
          <a:bodyPr anchor="t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buNone/>
              <a:defRPr sz="1000"/>
            </a:lvl2pPr>
            <a:lvl3pPr marL="0" indent="0">
              <a:lnSpc>
                <a:spcPct val="110000"/>
              </a:lnSpc>
              <a:buNone/>
              <a:defRPr sz="1000"/>
            </a:lvl3pPr>
            <a:lvl4pPr marL="0" indent="0">
              <a:lnSpc>
                <a:spcPct val="110000"/>
              </a:lnSpc>
              <a:buNone/>
              <a:defRPr sz="1000"/>
            </a:lvl4pPr>
            <a:lvl5pPr marL="0" indent="0">
              <a:lnSpc>
                <a:spcPct val="110000"/>
              </a:lnSpc>
              <a:buNone/>
              <a:defRPr sz="1000"/>
            </a:lvl5pPr>
          </a:lstStyle>
          <a:p>
            <a:pPr lvl="0"/>
            <a:r>
              <a:rPr lang="en-US" dirty="0"/>
              <a:t>Click to add note text, use | to divide notes</a:t>
            </a:r>
          </a:p>
        </p:txBody>
      </p:sp>
    </p:spTree>
    <p:extLst>
      <p:ext uri="{BB962C8B-B14F-4D97-AF65-F5344CB8AC3E}">
        <p14:creationId xmlns:p14="http://schemas.microsoft.com/office/powerpoint/2010/main" val="26154592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296863"/>
            <a:ext cx="11530012" cy="1008062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action title (full sentenc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38876" y="1592262"/>
            <a:ext cx="5621337" cy="4465637"/>
          </a:xfrm>
        </p:spPr>
        <p:txBody>
          <a:bodyPr/>
          <a:lstStyle/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CD30D28-CFCB-477B-AF4A-C0D9D1BC57B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0201" y="1592262"/>
            <a:ext cx="5619750" cy="4465638"/>
          </a:xfrm>
        </p:spPr>
        <p:txBody>
          <a:bodyPr bIns="72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Click on the icon to insert a pictu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89E4FE0-75F4-488C-86AB-FA8581514DC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A0427FB-C9B8-4453-9D99-B5DCE1B24C2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008574" y="6523199"/>
            <a:ext cx="4365332" cy="216361"/>
          </a:xfrm>
        </p:spPr>
        <p:txBody>
          <a:bodyPr anchor="ctr"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6A015C6B-C3F9-48BF-9B43-4DC1DF661E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3" y="6164394"/>
            <a:ext cx="5622926" cy="365555"/>
          </a:xfrm>
        </p:spPr>
        <p:txBody>
          <a:bodyPr anchor="t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buNone/>
              <a:defRPr sz="1000"/>
            </a:lvl2pPr>
            <a:lvl3pPr marL="0" indent="0">
              <a:lnSpc>
                <a:spcPct val="110000"/>
              </a:lnSpc>
              <a:buNone/>
              <a:defRPr sz="1000"/>
            </a:lvl3pPr>
            <a:lvl4pPr marL="0" indent="0">
              <a:lnSpc>
                <a:spcPct val="110000"/>
              </a:lnSpc>
              <a:buNone/>
              <a:defRPr sz="1000"/>
            </a:lvl4pPr>
            <a:lvl5pPr marL="0" indent="0">
              <a:lnSpc>
                <a:spcPct val="110000"/>
              </a:lnSpc>
              <a:buNone/>
              <a:defRPr sz="1000"/>
            </a:lvl5pPr>
          </a:lstStyle>
          <a:p>
            <a:pPr lvl="0"/>
            <a:r>
              <a:rPr lang="en-US" dirty="0"/>
              <a:t>Click to add note text, use | to divide notes</a:t>
            </a:r>
          </a:p>
        </p:txBody>
      </p:sp>
    </p:spTree>
    <p:extLst>
      <p:ext uri="{BB962C8B-B14F-4D97-AF65-F5344CB8AC3E}">
        <p14:creationId xmlns:p14="http://schemas.microsoft.com/office/powerpoint/2010/main" val="1683802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FC65C2C5-3B9A-47F6-8247-B64AE379853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1592263"/>
            <a:ext cx="5621338" cy="4465637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a-DK" sz="4800" b="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29CDCA-CD25-6143-ABAE-91E038FBC0FE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E20DB7-E8A4-4F92-8EF2-D6B90489FC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88577" y="6508800"/>
            <a:ext cx="1477819" cy="216360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8D4595-8C07-4DE8-B31E-D44C56B9E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3B997D-8D30-4744-BC60-C3AC67A22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08574" y="6523199"/>
            <a:ext cx="4365332" cy="216361"/>
          </a:xfrm>
        </p:spPr>
        <p:txBody>
          <a:bodyPr anchor="ctr"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</p:spTree>
    <p:extLst>
      <p:ext uri="{BB962C8B-B14F-4D97-AF65-F5344CB8AC3E}">
        <p14:creationId xmlns:p14="http://schemas.microsoft.com/office/powerpoint/2010/main" val="2664704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BFA65FDF-1A47-488C-B82B-14C44ECADD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B7E8F"/>
          </a:solidFill>
          <a:ln>
            <a:solidFill>
              <a:srgbClr val="7B7E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1592263"/>
            <a:ext cx="5621338" cy="4465637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a-DK" sz="4800" b="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AC55703-2AA9-A245-98C3-1FBE2B70CEF7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6ED9B82-D20C-45EA-AB0F-235C994457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88577" y="6508800"/>
            <a:ext cx="1477819" cy="21636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A7CDBD-CE98-4D9F-887C-FEA3C5CEE1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C453A-D7B5-4812-8E11-2C432EBCAF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08574" y="6523199"/>
            <a:ext cx="4365332" cy="216361"/>
          </a:xfrm>
        </p:spPr>
        <p:txBody>
          <a:bodyPr anchor="ctr"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</p:spTree>
    <p:extLst>
      <p:ext uri="{BB962C8B-B14F-4D97-AF65-F5344CB8AC3E}">
        <p14:creationId xmlns:p14="http://schemas.microsoft.com/office/powerpoint/2010/main" val="40378562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with Image">
    <p:bg>
      <p:bgPr>
        <a:solidFill>
          <a:srgbClr val="7B7E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11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6480000" anchor="ctr" anchorCtr="0"/>
          <a:lstStyle>
            <a:lvl1pPr marL="0" indent="0" algn="l">
              <a:buNone/>
              <a:defRPr sz="1600" baseline="0"/>
            </a:lvl1pPr>
          </a:lstStyle>
          <a:p>
            <a:r>
              <a:rPr lang="en-US" dirty="0"/>
              <a:t>Click on the icon to insert a pictu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1591200"/>
            <a:ext cx="5621338" cy="4467600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a-DK" sz="4800" b="0" dirty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8" name="Pladsholder til tekst 13">
            <a:extLst>
              <a:ext uri="{FF2B5EF4-FFF2-40B4-BE49-F238E27FC236}">
                <a16:creationId xmlns:a16="http://schemas.microsoft.com/office/drawing/2014/main" id="{8A1BB6A7-D5FB-4FCD-B54E-8BAB943281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61200" y="6436800"/>
            <a:ext cx="1904400" cy="2772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r="3" b="2"/>
            </a:stretch>
          </a:blipFill>
        </p:spPr>
        <p:txBody>
          <a:bodyPr/>
          <a:lstStyle>
            <a:lvl1pPr algn="r"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1096B17-6E45-C840-A95A-E285F2E43C5C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A84772-A593-4260-8277-9AC15DB00D4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652376-663C-4E06-B556-A6FFE9F1459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008574" y="6523199"/>
            <a:ext cx="4365332" cy="216361"/>
          </a:xfrm>
        </p:spPr>
        <p:txBody>
          <a:bodyPr anchor="ctr"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</p:spTree>
    <p:extLst>
      <p:ext uri="{BB962C8B-B14F-4D97-AF65-F5344CB8AC3E}">
        <p14:creationId xmlns:p14="http://schemas.microsoft.com/office/powerpoint/2010/main" val="8988877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C72D08B-2E18-7949-9B5A-35540A47CD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200" y="1592264"/>
            <a:ext cx="5637783" cy="4465636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>
              <a:defRPr lang="da-DK" sz="4000" b="0" dirty="0">
                <a:solidFill>
                  <a:srgbClr val="7B7E8F"/>
                </a:solidFill>
              </a:defRPr>
            </a:lvl1pPr>
          </a:lstStyle>
          <a:p>
            <a:r>
              <a:rPr lang="en-US" dirty="0"/>
              <a:t>Click to add final text or statement text. Use Purple color to highlight wor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70BFDD-C67A-F046-8D67-CFBBDACDDBD0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B2AA0B0-49AC-4CEF-91B3-08F26430A3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200" y="273600"/>
            <a:ext cx="3805797" cy="55719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CE67F1-A8B5-4AE9-AC72-C453E8271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C6A732-FF77-4CD3-9895-E0B1504A2C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08574" y="6523199"/>
            <a:ext cx="4365332" cy="216361"/>
          </a:xfrm>
        </p:spPr>
        <p:txBody>
          <a:bodyPr anchor="ctr"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</p:spTree>
    <p:extLst>
      <p:ext uri="{BB962C8B-B14F-4D97-AF65-F5344CB8AC3E}">
        <p14:creationId xmlns:p14="http://schemas.microsoft.com/office/powerpoint/2010/main" val="10529041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394C3BF-CEFA-4A53-A3B6-B1A0E82481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8577" y="6508800"/>
            <a:ext cx="1477819" cy="21636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8EEA92D-AF69-4A5F-B8CF-30F4FC4ECB38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141B70-CD97-4C7D-B912-6BB9C73E40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813A41-523F-4C56-A3FB-48DA3FD7AB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08574" y="6523199"/>
            <a:ext cx="4365332" cy="216361"/>
          </a:xfrm>
        </p:spPr>
        <p:txBody>
          <a:bodyPr anchor="ctr"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</p:spTree>
    <p:extLst>
      <p:ext uri="{BB962C8B-B14F-4D97-AF65-F5344CB8AC3E}">
        <p14:creationId xmlns:p14="http://schemas.microsoft.com/office/powerpoint/2010/main" val="21228260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Box 2">
            <a:extLst>
              <a:ext uri="{FF2B5EF4-FFF2-40B4-BE49-F238E27FC236}">
                <a16:creationId xmlns:a16="http://schemas.microsoft.com/office/drawing/2014/main" id="{2C017810-3659-47C9-B8D9-7AC14FD2390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0200" y="297199"/>
            <a:ext cx="11533188" cy="100772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lvl1pPr marL="18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36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54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marL="0" indent="0">
              <a:buNone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15065"/>
                </a:solidFill>
                <a:effectLst/>
                <a:uLnTx/>
                <a:uFillTx/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General guidance (delete slide before use)</a:t>
            </a:r>
            <a:endParaRPr lang="en-US" sz="2400" dirty="0">
              <a:latin typeface="+mj-lt"/>
            </a:endParaRPr>
          </a:p>
        </p:txBody>
      </p:sp>
      <p:sp>
        <p:nvSpPr>
          <p:cNvPr id="16" name="Text Box 2">
            <a:extLst>
              <a:ext uri="{FF2B5EF4-FFF2-40B4-BE49-F238E27FC236}">
                <a16:creationId xmlns:a16="http://schemas.microsoft.com/office/drawing/2014/main" id="{5B9422FE-53F4-49B3-A4C0-03B3230F777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87147" y="1595140"/>
            <a:ext cx="2310679" cy="446275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lvl1pPr marL="18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36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54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b="1" noProof="1">
                <a:latin typeface="+mn-lt"/>
              </a:rPr>
              <a:t>Corporate Language = </a:t>
            </a:r>
            <a:r>
              <a:rPr lang="en-US" sz="1000" b="1" noProof="1">
                <a:solidFill>
                  <a:schemeClr val="accent1"/>
                </a:solidFill>
                <a:latin typeface="+mn-lt"/>
              </a:rPr>
              <a:t>US</a:t>
            </a:r>
            <a:r>
              <a:rPr lang="en-US" sz="1000" b="1" noProof="1">
                <a:latin typeface="+mn-lt"/>
              </a:rPr>
              <a:t>-Englis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altLang="da-DK" sz="1000" kern="1200" noProof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. Change the default setting of your Powerpoint to US-English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altLang="da-DK" sz="1000" kern="1200" noProof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. Make sure to perform a spell check before sending a document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b="1" noProof="1">
                <a:latin typeface="+mn-lt"/>
              </a:rPr>
              <a:t>Use text styles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altLang="da-DK" sz="1000" noProof="1">
                <a:latin typeface="+mn-lt"/>
              </a:rPr>
              <a:t>Use the </a:t>
            </a:r>
            <a:r>
              <a:rPr lang="en-US" altLang="da-DK" sz="1000" noProof="1">
                <a:solidFill>
                  <a:schemeClr val="accent1"/>
                </a:solidFill>
                <a:latin typeface="+mn-lt"/>
              </a:rPr>
              <a:t>TAB-key</a:t>
            </a:r>
            <a:r>
              <a:rPr lang="en-US" altLang="da-DK" sz="1000" noProof="1">
                <a:latin typeface="+mn-lt"/>
              </a:rPr>
              <a:t> to jump through </a:t>
            </a:r>
            <a:br>
              <a:rPr lang="en-US" altLang="da-DK" sz="1000" noProof="1">
                <a:latin typeface="+mn-lt"/>
              </a:rPr>
            </a:br>
            <a:r>
              <a:rPr lang="en-US" altLang="da-DK" sz="1000" noProof="1">
                <a:latin typeface="+mn-lt"/>
              </a:rPr>
              <a:t>levels. Click ENTER, then TAB to switch from one level to the next level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altLang="da-DK" sz="1000" noProof="1">
                <a:latin typeface="+mn-lt"/>
              </a:rPr>
              <a:t>To go back in levels use SHIFT-TAB</a:t>
            </a:r>
            <a:endParaRPr lang="en-US" sz="1000" noProof="1">
              <a:latin typeface="+mn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1000" noProof="1">
                <a:latin typeface="+mn-lt"/>
              </a:rPr>
              <a:t>Alternatively, Increase and</a:t>
            </a:r>
            <a:br>
              <a:rPr lang="en-US" sz="1000" noProof="1">
                <a:latin typeface="+mn-lt"/>
              </a:rPr>
            </a:br>
            <a:r>
              <a:rPr lang="en-US" sz="1000" noProof="1">
                <a:latin typeface="+mn-lt"/>
              </a:rPr>
              <a:t>Decrease list level can be used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b="1" dirty="0">
                <a:latin typeface="+mn-lt"/>
              </a:rPr>
              <a:t>Insert a New Slide</a:t>
            </a:r>
            <a:endParaRPr lang="en-US" sz="1000" b="1" noProof="1">
              <a:latin typeface="+mn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da-DK" sz="1000" noProof="1">
                <a:latin typeface="+mn-lt"/>
              </a:rPr>
              <a:t>1. Click on the Home tab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altLang="da-DK" sz="1000" noProof="1">
                <a:latin typeface="+mn-lt"/>
              </a:rPr>
              <a:t>2. Click on the New Slide to insert </a:t>
            </a:r>
            <a:br>
              <a:rPr lang="en-US" altLang="da-DK" sz="1000" noProof="1">
                <a:latin typeface="+mn-lt"/>
              </a:rPr>
            </a:br>
            <a:r>
              <a:rPr lang="en-US" altLang="da-DK" sz="1000" noProof="1">
                <a:latin typeface="+mn-lt"/>
              </a:rPr>
              <a:t>new slid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b="1" dirty="0">
                <a:latin typeface="+mn-lt"/>
              </a:rPr>
              <a:t>Change Slide Layout</a:t>
            </a:r>
            <a:endParaRPr lang="en-US" altLang="da-DK" sz="1000" b="1" noProof="1">
              <a:latin typeface="+mn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1. Click on the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arrow next to Layout</a:t>
            </a:r>
            <a:br>
              <a:rPr lang="en-US" sz="1000" dirty="0">
                <a:latin typeface="+mn-lt"/>
              </a:rPr>
            </a:br>
            <a:r>
              <a:rPr lang="en-US" sz="1000" dirty="0">
                <a:latin typeface="+mn-lt"/>
              </a:rPr>
              <a:t>to view a dropdown menu of possible slide layouts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2. Click on the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layout you prefer </a:t>
            </a:r>
            <a:r>
              <a:rPr lang="en-US" sz="1000" dirty="0">
                <a:latin typeface="+mn-lt"/>
              </a:rPr>
              <a:t>and it will be applied to the new slid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b="1" noProof="1">
                <a:latin typeface="+mn-lt"/>
              </a:rPr>
              <a:t>Insert pictur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altLang="da-DK" sz="1000" noProof="1">
                <a:latin typeface="+mn-lt"/>
              </a:rPr>
              <a:t>On slides with picture placeholder, </a:t>
            </a:r>
            <a:br>
              <a:rPr lang="en-US" altLang="da-DK" sz="1000" noProof="1">
                <a:latin typeface="+mn-lt"/>
              </a:rPr>
            </a:br>
            <a:r>
              <a:rPr lang="en-US" altLang="da-DK" sz="1000" noProof="1">
                <a:latin typeface="+mn-lt"/>
              </a:rPr>
              <a:t>click on the icon and choose Insert</a:t>
            </a:r>
            <a:endParaRPr lang="en-US" sz="1000" noProof="1">
              <a:latin typeface="+mn-lt"/>
            </a:endParaRPr>
          </a:p>
        </p:txBody>
      </p:sp>
      <p:sp>
        <p:nvSpPr>
          <p:cNvPr id="17" name="Text Box 3">
            <a:extLst>
              <a:ext uri="{FF2B5EF4-FFF2-40B4-BE49-F238E27FC236}">
                <a16:creationId xmlns:a16="http://schemas.microsoft.com/office/drawing/2014/main" id="{13AF0488-D3AC-4DF4-8830-0BC6E3F9D49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123" y="1595140"/>
            <a:ext cx="2693076" cy="432426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000" b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36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54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noProof="1">
                <a:latin typeface="+mn-lt"/>
              </a:rPr>
              <a:t>Change picture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1. Click </a:t>
            </a:r>
            <a:r>
              <a:rPr lang="en-US" altLang="da-DK" b="0" noProof="1">
                <a:solidFill>
                  <a:schemeClr val="accent1"/>
                </a:solidFill>
                <a:latin typeface="+mn-lt"/>
              </a:rPr>
              <a:t>Crop</a:t>
            </a:r>
            <a:r>
              <a:rPr lang="en-US" altLang="da-DK" b="0" noProof="1">
                <a:latin typeface="+mn-lt"/>
              </a:rPr>
              <a:t> to change size or focus of the picture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2. If you want to scale the picture, hold SHIFT-key down while dragging the corners of the picture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Hint: If you delete the picture and insert a new one, the picture may lie in front of the text or graphic. If this happens, select the picture, right-click and choose </a:t>
            </a:r>
            <a:r>
              <a:rPr lang="en-US" altLang="da-DK" b="0" noProof="1">
                <a:solidFill>
                  <a:schemeClr val="accent1"/>
                </a:solidFill>
                <a:latin typeface="+mn-lt"/>
              </a:rPr>
              <a:t>Send to Back</a:t>
            </a:r>
          </a:p>
          <a:p>
            <a:pPr>
              <a:lnSpc>
                <a:spcPct val="100000"/>
              </a:lnSpc>
            </a:pPr>
            <a:r>
              <a:rPr lang="en-US" noProof="1">
                <a:latin typeface="+mn-lt"/>
              </a:rPr>
              <a:t>Reset slide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1. Click the Home tab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2. Click the Reset menu to reset position, size and formatting of the slide placeholders to their default settings</a:t>
            </a:r>
          </a:p>
          <a:p>
            <a:pPr>
              <a:lnSpc>
                <a:spcPct val="100000"/>
              </a:lnSpc>
            </a:pPr>
            <a:r>
              <a:rPr lang="en-US" noProof="1">
                <a:latin typeface="+mn-lt"/>
              </a:rPr>
              <a:t>Change slide number, date and footer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Do this at the </a:t>
            </a:r>
            <a:r>
              <a:rPr lang="en-US" altLang="da-DK" b="0" noProof="1">
                <a:solidFill>
                  <a:schemeClr val="accent1"/>
                </a:solidFill>
                <a:latin typeface="+mn-lt"/>
              </a:rPr>
              <a:t>very end</a:t>
            </a:r>
            <a:r>
              <a:rPr lang="en-US" altLang="da-DK" b="0" noProof="1">
                <a:latin typeface="+mn-lt"/>
              </a:rPr>
              <a:t>, so you get all the corrections on all slides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1. Click the Insert tab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2. Click on Header and Footer (write the desired text)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3. Click </a:t>
            </a:r>
            <a:r>
              <a:rPr lang="en-US" altLang="da-DK" b="0" noProof="1">
                <a:solidFill>
                  <a:schemeClr val="accent1"/>
                </a:solidFill>
                <a:latin typeface="+mn-lt"/>
              </a:rPr>
              <a:t>Apply to All </a:t>
            </a:r>
            <a:r>
              <a:rPr lang="en-US" altLang="da-DK" b="0" noProof="1">
                <a:latin typeface="+mn-lt"/>
              </a:rPr>
              <a:t>or Apply if only used on one slide</a:t>
            </a:r>
          </a:p>
        </p:txBody>
      </p:sp>
      <p:sp>
        <p:nvSpPr>
          <p:cNvPr id="36" name="Text Box 2">
            <a:extLst>
              <a:ext uri="{FF2B5EF4-FFF2-40B4-BE49-F238E27FC236}">
                <a16:creationId xmlns:a16="http://schemas.microsoft.com/office/drawing/2014/main" id="{B34BD776-AD41-4516-998A-44B24FC6B3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0200" y="1592262"/>
            <a:ext cx="3133434" cy="446275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lvl1pPr marL="18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36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54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b="1" dirty="0">
                <a:solidFill>
                  <a:schemeClr val="tx1"/>
                </a:solidFill>
                <a:latin typeface="+mn-lt"/>
              </a:rPr>
              <a:t>Only share ppt presentations </a:t>
            </a:r>
            <a:r>
              <a:rPr lang="en-US" sz="1000" b="1" dirty="0">
                <a:solidFill>
                  <a:srgbClr val="7030A0"/>
                </a:solidFill>
                <a:latin typeface="+mn-lt"/>
              </a:rPr>
              <a:t>externally as PDF!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000" b="1" dirty="0">
              <a:latin typeface="+mn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1000" b="1" dirty="0">
                <a:latin typeface="+mn-lt"/>
              </a:rPr>
              <a:t>Getting started</a:t>
            </a:r>
            <a:endParaRPr lang="en-US" sz="1000" dirty="0">
              <a:latin typeface="+mn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Always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start </a:t>
            </a:r>
            <a:r>
              <a:rPr lang="en-US" sz="1000" dirty="0">
                <a:latin typeface="+mn-lt"/>
              </a:rPr>
              <a:t>new presentations using a blank PowerPoint template. Select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View – Guides </a:t>
            </a:r>
            <a:r>
              <a:rPr lang="en-US" sz="1000" dirty="0">
                <a:latin typeface="+mn-lt"/>
              </a:rPr>
              <a:t>in the menu to implement new text/pictures correctly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When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importing slides</a:t>
            </a:r>
            <a:r>
              <a:rPr lang="en-US" sz="1000" dirty="0">
                <a:latin typeface="+mn-lt"/>
              </a:rPr>
              <a:t>, update the layout of each slide to an option in this template. Font needs to be turned into Noto Sans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Use guides to ensure content is placed within the correct margins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b="1" dirty="0">
                <a:latin typeface="+mn-lt"/>
              </a:rPr>
              <a:t>Styling tips</a:t>
            </a:r>
            <a:endParaRPr lang="en-US" sz="1000" dirty="0">
              <a:latin typeface="+mn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Try to keep slides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simple</a:t>
            </a:r>
            <a:r>
              <a:rPr lang="en-US" sz="1000" dirty="0">
                <a:latin typeface="+mn-lt"/>
              </a:rPr>
              <a:t> – make one main point per slide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Only use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colors</a:t>
            </a:r>
            <a:r>
              <a:rPr lang="en-US" sz="1000" dirty="0">
                <a:latin typeface="+mn-lt"/>
              </a:rPr>
              <a:t> that are part of the embedded color scheme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Consider text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legibility</a:t>
            </a:r>
            <a:r>
              <a:rPr lang="en-US" sz="1000" dirty="0">
                <a:latin typeface="+mn-lt"/>
              </a:rPr>
              <a:t> and cropping when using background images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Avoid the use of all CAPS in headlines and body tex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hen writing the </a:t>
            </a:r>
            <a:r>
              <a:rPr lang="en-US" sz="1000" b="0" kern="1200" dirty="0">
                <a:solidFill>
                  <a:schemeClr val="accent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ate</a:t>
            </a:r>
            <a:r>
              <a:rPr lang="en-US" sz="1000" b="1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US" sz="1000" b="0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o for (example) October 25, 2019, and in tables, graphics and diagrams: Oct 25, 201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b="1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urrency</a:t>
            </a:r>
            <a:r>
              <a:rPr lang="en-US" sz="1000" b="0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use symbols only: $; €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b="1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Units: </a:t>
            </a:r>
            <a:r>
              <a:rPr lang="en-US" sz="1000" b="0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illion = M,; Billion = 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b="0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3 million euro = €13M</a:t>
            </a:r>
          </a:p>
        </p:txBody>
      </p:sp>
      <p:pic>
        <p:nvPicPr>
          <p:cNvPr id="28" name="1 Increase decrease">
            <a:extLst>
              <a:ext uri="{FF2B5EF4-FFF2-40B4-BE49-F238E27FC236}">
                <a16:creationId xmlns:a16="http://schemas.microsoft.com/office/drawing/2014/main" id="{38EE3CEA-ED40-4EF0-8D13-B5E42435A7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0888" y="1808382"/>
            <a:ext cx="601877" cy="312513"/>
          </a:xfrm>
          <a:prstGeom prst="rect">
            <a:avLst/>
          </a:prstGeom>
        </p:spPr>
      </p:pic>
      <p:pic>
        <p:nvPicPr>
          <p:cNvPr id="29" name="2 New picture">
            <a:extLst>
              <a:ext uri="{FF2B5EF4-FFF2-40B4-BE49-F238E27FC236}">
                <a16:creationId xmlns:a16="http://schemas.microsoft.com/office/drawing/2014/main" id="{2BBA628C-97C8-49C3-BD00-C32FC6469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7476" y="2971205"/>
            <a:ext cx="355831" cy="633552"/>
          </a:xfrm>
          <a:prstGeom prst="rect">
            <a:avLst/>
          </a:prstGeom>
        </p:spPr>
      </p:pic>
      <p:pic>
        <p:nvPicPr>
          <p:cNvPr id="30" name="3 Layout">
            <a:extLst>
              <a:ext uri="{FF2B5EF4-FFF2-40B4-BE49-F238E27FC236}">
                <a16:creationId xmlns:a16="http://schemas.microsoft.com/office/drawing/2014/main" id="{2D143D6A-3B27-491B-AF93-6B6928AA15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3083" y="3940228"/>
            <a:ext cx="650130" cy="210598"/>
          </a:xfrm>
          <a:prstGeom prst="rect">
            <a:avLst/>
          </a:prstGeom>
        </p:spPr>
      </p:pic>
      <p:pic>
        <p:nvPicPr>
          <p:cNvPr id="31" name="4 Reset">
            <a:extLst>
              <a:ext uri="{FF2B5EF4-FFF2-40B4-BE49-F238E27FC236}">
                <a16:creationId xmlns:a16="http://schemas.microsoft.com/office/drawing/2014/main" id="{CA7A8412-96BD-47A3-9BD3-16106D6D7CD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20652" y="3429000"/>
            <a:ext cx="539561" cy="219588"/>
          </a:xfrm>
          <a:prstGeom prst="rect">
            <a:avLst/>
          </a:prstGeom>
        </p:spPr>
      </p:pic>
      <p:pic>
        <p:nvPicPr>
          <p:cNvPr id="32" name="5 Insert picture">
            <a:extLst>
              <a:ext uri="{FF2B5EF4-FFF2-40B4-BE49-F238E27FC236}">
                <a16:creationId xmlns:a16="http://schemas.microsoft.com/office/drawing/2014/main" id="{7ACFA654-BA80-4533-90ED-0E722D8FD30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3083" y="5143542"/>
            <a:ext cx="287229" cy="280548"/>
          </a:xfrm>
          <a:prstGeom prst="rect">
            <a:avLst/>
          </a:prstGeom>
        </p:spPr>
      </p:pic>
      <p:pic>
        <p:nvPicPr>
          <p:cNvPr id="33" name="6 Crop">
            <a:extLst>
              <a:ext uri="{FF2B5EF4-FFF2-40B4-BE49-F238E27FC236}">
                <a16:creationId xmlns:a16="http://schemas.microsoft.com/office/drawing/2014/main" id="{A3702581-24AB-473A-8830-8869B74590A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20652" y="1768413"/>
            <a:ext cx="369676" cy="352482"/>
          </a:xfrm>
          <a:prstGeom prst="rect">
            <a:avLst/>
          </a:prstGeom>
        </p:spPr>
      </p:pic>
      <p:pic>
        <p:nvPicPr>
          <p:cNvPr id="34" name="7 Scale picture">
            <a:extLst>
              <a:ext uri="{FF2B5EF4-FFF2-40B4-BE49-F238E27FC236}">
                <a16:creationId xmlns:a16="http://schemas.microsoft.com/office/drawing/2014/main" id="{27DB2865-E4FF-4E45-8513-B09F24A7E8C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96225" y="2256161"/>
            <a:ext cx="394104" cy="367385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103A5A-A255-4DF2-873A-44C0F6DE09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68BA46D-C1BE-4752-9D7D-FD8F9DF28C12}" type="datetime4">
              <a:rPr lang="en-US" smtClean="0"/>
              <a:pPr/>
              <a:t>August 12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38E3C2-1764-4CA4-9D29-866B5FDD5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2062669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53F648-EAF6-4A97-86E9-98F0F2C18941}"/>
              </a:ext>
            </a:extLst>
          </p:cNvPr>
          <p:cNvSpPr>
            <a:spLocks noGrp="1"/>
          </p:cNvSpPr>
          <p:nvPr userDrawn="1">
            <p:ph type="title" idx="14" hasCustomPrompt="1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12B6F95-266D-4197-9C36-4168144E7E88}"/>
              </a:ext>
            </a:extLst>
          </p:cNvPr>
          <p:cNvCxnSpPr>
            <a:cxnSpLocks/>
          </p:cNvCxnSpPr>
          <p:nvPr userDrawn="1"/>
        </p:nvCxnSpPr>
        <p:spPr>
          <a:xfrm>
            <a:off x="1884483" y="1116082"/>
            <a:ext cx="0" cy="5133008"/>
          </a:xfrm>
          <a:prstGeom prst="line">
            <a:avLst/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SP Agenda Section" hidden="1">
            <a:extLst>
              <a:ext uri="{FF2B5EF4-FFF2-40B4-BE49-F238E27FC236}">
                <a16:creationId xmlns:a16="http://schemas.microsoft.com/office/drawing/2014/main" id="{7AB90E57-E567-489F-B081-8AE0A2858AEC}"/>
              </a:ext>
            </a:extLst>
          </p:cNvPr>
          <p:cNvGrpSpPr/>
          <p:nvPr userDrawn="1"/>
        </p:nvGrpSpPr>
        <p:grpSpPr>
          <a:xfrm>
            <a:off x="1894787" y="1450088"/>
            <a:ext cx="8637453" cy="901869"/>
            <a:chOff x="1894787" y="1450088"/>
            <a:chExt cx="8637453" cy="901869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3009900" y="1634863"/>
              <a:ext cx="3177968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3107773" y="1634863"/>
              <a:ext cx="66198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95246" y="16348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773462" y="16348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86632" y="16348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120523" y="16348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  <p:sp>
          <p:nvSpPr>
            <p:cNvPr id="52" name="Rectangle 51" hidden="1">
              <a:extLst>
                <a:ext uri="{FF2B5EF4-FFF2-40B4-BE49-F238E27FC236}">
                  <a16:creationId xmlns:a16="http://schemas.microsoft.com/office/drawing/2014/main" id="{AF3ADAA0-047D-4A71-95AF-841153131135}"/>
                </a:ext>
              </a:extLst>
            </p:cNvPr>
            <p:cNvSpPr/>
            <p:nvPr userDrawn="1"/>
          </p:nvSpPr>
          <p:spPr>
            <a:xfrm>
              <a:off x="1894787" y="1450088"/>
              <a:ext cx="163805" cy="90186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45" name="Textbox" hidden="1">
              <a:extLst>
                <a:ext uri="{FF2B5EF4-FFF2-40B4-BE49-F238E27FC236}">
                  <a16:creationId xmlns:a16="http://schemas.microsoft.com/office/drawing/2014/main" id="{78D04D5B-8545-4293-81DD-F812C2C0DD1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804083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b="1" dirty="0">
                  <a:solidFill>
                    <a:schemeClr val="tx1"/>
                  </a:solidFill>
                </a:rPr>
                <a:t>Topic:</a:t>
              </a:r>
            </a:p>
          </p:txBody>
        </p:sp>
      </p:grpSp>
      <p:grpSp>
        <p:nvGrpSpPr>
          <p:cNvPr id="53" name="SP Agenda Section Highlight" hidden="1">
            <a:extLst>
              <a:ext uri="{FF2B5EF4-FFF2-40B4-BE49-F238E27FC236}">
                <a16:creationId xmlns:a16="http://schemas.microsoft.com/office/drawing/2014/main" id="{399BE1E3-7060-4D10-A178-DFFC8A7AE4A7}"/>
              </a:ext>
            </a:extLst>
          </p:cNvPr>
          <p:cNvGrpSpPr/>
          <p:nvPr userDrawn="1"/>
        </p:nvGrpSpPr>
        <p:grpSpPr>
          <a:xfrm>
            <a:off x="1894787" y="2593442"/>
            <a:ext cx="8637453" cy="901869"/>
            <a:chOff x="1894787" y="1450088"/>
            <a:chExt cx="8637453" cy="901869"/>
          </a:xfrm>
        </p:grpSpPr>
        <p:sp>
          <p:nvSpPr>
            <p:cNvPr id="54" name="Textbox" hidden="1">
              <a:extLst>
                <a:ext uri="{FF2B5EF4-FFF2-40B4-BE49-F238E27FC236}">
                  <a16:creationId xmlns:a16="http://schemas.microsoft.com/office/drawing/2014/main" id="{C9E7325E-37D3-4C24-A228-6BEC7C9D4A2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09900" y="1634863"/>
              <a:ext cx="3177968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>
                  <a:solidFill>
                    <a:schemeClr val="accent1"/>
                  </a:solidFill>
                </a:rPr>
                <a:t>&lt;TEXT&gt;</a:t>
              </a:r>
            </a:p>
          </p:txBody>
        </p:sp>
        <p:sp>
          <p:nvSpPr>
            <p:cNvPr id="55" name="Textbox" hidden="1">
              <a:extLst>
                <a:ext uri="{FF2B5EF4-FFF2-40B4-BE49-F238E27FC236}">
                  <a16:creationId xmlns:a16="http://schemas.microsoft.com/office/drawing/2014/main" id="{76D41B44-854F-4DCF-A308-B219DE8D72F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07773" y="1634863"/>
              <a:ext cx="66198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N&gt;</a:t>
              </a:r>
            </a:p>
          </p:txBody>
        </p:sp>
        <p:sp>
          <p:nvSpPr>
            <p:cNvPr id="56" name="Textbox" hidden="1">
              <a:extLst>
                <a:ext uri="{FF2B5EF4-FFF2-40B4-BE49-F238E27FC236}">
                  <a16:creationId xmlns:a16="http://schemas.microsoft.com/office/drawing/2014/main" id="{6422CD36-100D-4E9D-AFEC-CA729C48235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95246" y="16348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57" name="Textbox" hidden="1">
              <a:extLst>
                <a:ext uri="{FF2B5EF4-FFF2-40B4-BE49-F238E27FC236}">
                  <a16:creationId xmlns:a16="http://schemas.microsoft.com/office/drawing/2014/main" id="{13A24676-A1F6-462B-A676-EC4EBAB780C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773462" y="16348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58" name="Textbox" hidden="1">
              <a:extLst>
                <a:ext uri="{FF2B5EF4-FFF2-40B4-BE49-F238E27FC236}">
                  <a16:creationId xmlns:a16="http://schemas.microsoft.com/office/drawing/2014/main" id="{757AF2F1-5543-45F8-9E0F-C4375CB0AB9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86632" y="16348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59" name="Textbox" hidden="1">
              <a:extLst>
                <a:ext uri="{FF2B5EF4-FFF2-40B4-BE49-F238E27FC236}">
                  <a16:creationId xmlns:a16="http://schemas.microsoft.com/office/drawing/2014/main" id="{12CDC77B-F63B-419A-A55A-E3C2232F3ED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20523" y="16348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  <p:sp>
          <p:nvSpPr>
            <p:cNvPr id="60" name="Rectangle 59" hidden="1">
              <a:extLst>
                <a:ext uri="{FF2B5EF4-FFF2-40B4-BE49-F238E27FC236}">
                  <a16:creationId xmlns:a16="http://schemas.microsoft.com/office/drawing/2014/main" id="{E25D5B57-686D-4753-90E9-5B2D1735D7B9}"/>
                </a:ext>
              </a:extLst>
            </p:cNvPr>
            <p:cNvSpPr/>
            <p:nvPr userDrawn="1"/>
          </p:nvSpPr>
          <p:spPr>
            <a:xfrm>
              <a:off x="1894787" y="1450088"/>
              <a:ext cx="163805" cy="90186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61" name="Textbox" hidden="1">
              <a:extLst>
                <a:ext uri="{FF2B5EF4-FFF2-40B4-BE49-F238E27FC236}">
                  <a16:creationId xmlns:a16="http://schemas.microsoft.com/office/drawing/2014/main" id="{75B22FA1-6399-488A-8934-2A507CF1DD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804083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b="1" dirty="0">
                  <a:solidFill>
                    <a:schemeClr val="accent1"/>
                  </a:solidFill>
                </a:rPr>
                <a:t>Topic:</a:t>
              </a:r>
            </a:p>
          </p:txBody>
        </p:sp>
      </p:grpSp>
      <p:grpSp>
        <p:nvGrpSpPr>
          <p:cNvPr id="36" name="SP Agenda Subsection" hidden="1">
            <a:extLst>
              <a:ext uri="{FF2B5EF4-FFF2-40B4-BE49-F238E27FC236}">
                <a16:creationId xmlns:a16="http://schemas.microsoft.com/office/drawing/2014/main" id="{A646EB6D-C559-4E0C-AC2D-8733411BA670}"/>
              </a:ext>
            </a:extLst>
          </p:cNvPr>
          <p:cNvGrpSpPr/>
          <p:nvPr userDrawn="1"/>
        </p:nvGrpSpPr>
        <p:grpSpPr>
          <a:xfrm>
            <a:off x="3107773" y="3429000"/>
            <a:ext cx="8167673" cy="369332"/>
            <a:chOff x="2364567" y="1634863"/>
            <a:chExt cx="8167673" cy="369332"/>
          </a:xfrm>
        </p:grpSpPr>
        <p:sp>
          <p:nvSpPr>
            <p:cNvPr id="37" name="Textbox" hidden="1">
              <a:extLst>
                <a:ext uri="{FF2B5EF4-FFF2-40B4-BE49-F238E27FC236}">
                  <a16:creationId xmlns:a16="http://schemas.microsoft.com/office/drawing/2014/main" id="{20486BE0-7A3C-4BC1-8159-66D03BBC630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09900" y="1634863"/>
              <a:ext cx="3177968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62" name="Textbox" hidden="1">
              <a:extLst>
                <a:ext uri="{FF2B5EF4-FFF2-40B4-BE49-F238E27FC236}">
                  <a16:creationId xmlns:a16="http://schemas.microsoft.com/office/drawing/2014/main" id="{ED927BE5-8A1F-48AE-94B3-2D5AE8A0210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07773" y="1634863"/>
              <a:ext cx="66198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N&gt;</a:t>
              </a:r>
            </a:p>
          </p:txBody>
        </p:sp>
        <p:sp>
          <p:nvSpPr>
            <p:cNvPr id="63" name="Textbox" hidden="1">
              <a:extLst>
                <a:ext uri="{FF2B5EF4-FFF2-40B4-BE49-F238E27FC236}">
                  <a16:creationId xmlns:a16="http://schemas.microsoft.com/office/drawing/2014/main" id="{92B777C4-031F-43D4-9DD4-8309863058A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95246" y="16348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64" name="Textbox" hidden="1">
              <a:extLst>
                <a:ext uri="{FF2B5EF4-FFF2-40B4-BE49-F238E27FC236}">
                  <a16:creationId xmlns:a16="http://schemas.microsoft.com/office/drawing/2014/main" id="{9EE0E904-8044-45E1-BA44-BF7A4A7340A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773462" y="16348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65" name="Textbox" hidden="1">
              <a:extLst>
                <a:ext uri="{FF2B5EF4-FFF2-40B4-BE49-F238E27FC236}">
                  <a16:creationId xmlns:a16="http://schemas.microsoft.com/office/drawing/2014/main" id="{99F1232B-62CC-4BF4-9439-5DBB9294B4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86632" y="16348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66" name="Textbox" hidden="1">
              <a:extLst>
                <a:ext uri="{FF2B5EF4-FFF2-40B4-BE49-F238E27FC236}">
                  <a16:creationId xmlns:a16="http://schemas.microsoft.com/office/drawing/2014/main" id="{D93D50A9-CBBD-45AC-B2CA-82073A47394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20523" y="16348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  <p:sp>
          <p:nvSpPr>
            <p:cNvPr id="68" name="Textbox" hidden="1">
              <a:extLst>
                <a:ext uri="{FF2B5EF4-FFF2-40B4-BE49-F238E27FC236}">
                  <a16:creationId xmlns:a16="http://schemas.microsoft.com/office/drawing/2014/main" id="{437D2B84-72FF-4B57-B837-2786BB0AF85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804083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b="1" dirty="0">
                  <a:solidFill>
                    <a:schemeClr val="tx1"/>
                  </a:solidFill>
                </a:rPr>
                <a:t>Topic:</a:t>
              </a:r>
            </a:p>
          </p:txBody>
        </p:sp>
      </p:grpSp>
      <p:grpSp>
        <p:nvGrpSpPr>
          <p:cNvPr id="69" name="SP Agenda Subsection Highlight" hidden="1">
            <a:extLst>
              <a:ext uri="{FF2B5EF4-FFF2-40B4-BE49-F238E27FC236}">
                <a16:creationId xmlns:a16="http://schemas.microsoft.com/office/drawing/2014/main" id="{A7F1C69B-4730-43DE-B68A-3FC990F8A349}"/>
              </a:ext>
            </a:extLst>
          </p:cNvPr>
          <p:cNvGrpSpPr/>
          <p:nvPr userDrawn="1"/>
        </p:nvGrpSpPr>
        <p:grpSpPr>
          <a:xfrm>
            <a:off x="3107773" y="3947223"/>
            <a:ext cx="8167673" cy="369332"/>
            <a:chOff x="2364567" y="1634863"/>
            <a:chExt cx="8167673" cy="369332"/>
          </a:xfrm>
        </p:grpSpPr>
        <p:sp>
          <p:nvSpPr>
            <p:cNvPr id="70" name="Textbox" hidden="1">
              <a:extLst>
                <a:ext uri="{FF2B5EF4-FFF2-40B4-BE49-F238E27FC236}">
                  <a16:creationId xmlns:a16="http://schemas.microsoft.com/office/drawing/2014/main" id="{88A1278E-34E9-4CB9-B91C-37C5CDB86D4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09900" y="1634863"/>
              <a:ext cx="3177968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>
                  <a:solidFill>
                    <a:schemeClr val="accent1"/>
                  </a:solidFill>
                </a:rPr>
                <a:t>&lt;TEXT&gt;</a:t>
              </a:r>
            </a:p>
          </p:txBody>
        </p:sp>
        <p:sp>
          <p:nvSpPr>
            <p:cNvPr id="71" name="Textbox" hidden="1">
              <a:extLst>
                <a:ext uri="{FF2B5EF4-FFF2-40B4-BE49-F238E27FC236}">
                  <a16:creationId xmlns:a16="http://schemas.microsoft.com/office/drawing/2014/main" id="{278C944F-E77F-4D35-A187-79562217A8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07773" y="1634863"/>
              <a:ext cx="66198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N&gt;</a:t>
              </a:r>
            </a:p>
          </p:txBody>
        </p:sp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B2052B66-F038-4DA9-8F74-6AAF7DA0FF3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95246" y="16348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4019E097-FCBF-48BF-A837-3F813D10432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773462" y="16348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632C0E86-FBA8-45BE-B3D4-9E84E531F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86632" y="16348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BD39684A-A8DF-407D-AA07-EBF1BB087CA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20523" y="16348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5C240F18-5366-41B6-B8AF-A0CCD2A444B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804083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b="1" dirty="0">
                  <a:solidFill>
                    <a:schemeClr val="accent1"/>
                  </a:solidFill>
                </a:rPr>
                <a:t>Topic:</a:t>
              </a:r>
            </a:p>
          </p:txBody>
        </p:sp>
      </p:grpSp>
      <p:sp>
        <p:nvSpPr>
          <p:cNvPr id="41" name="Footer Placeholder 2">
            <a:extLst>
              <a:ext uri="{FF2B5EF4-FFF2-40B4-BE49-F238E27FC236}">
                <a16:creationId xmlns:a16="http://schemas.microsoft.com/office/drawing/2014/main" id="{A702872D-88E5-43DC-90F2-B9722CEE06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08574" y="6523199"/>
            <a:ext cx="4365332" cy="216361"/>
          </a:xfrm>
        </p:spPr>
        <p:txBody>
          <a:bodyPr anchor="ctr"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</p:spTree>
    <p:extLst>
      <p:ext uri="{BB962C8B-B14F-4D97-AF65-F5344CB8AC3E}">
        <p14:creationId xmlns:p14="http://schemas.microsoft.com/office/powerpoint/2010/main" val="191556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billede 11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bIns="72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Click on the icon to insert a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B753F20-189A-054D-8B17-11C6EB6D6B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0199" y="3228050"/>
            <a:ext cx="5621338" cy="2269671"/>
          </a:xfrm>
          <a:solidFill>
            <a:schemeClr val="accent1"/>
          </a:solidFill>
        </p:spPr>
        <p:txBody>
          <a:bodyPr lIns="360000" tIns="72000" rIns="180000" bIns="72000" anchor="ctr" anchorCtr="0"/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fld id="{C63D0E99-6FDB-4A90-8743-BBC997F17AC8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ladsholder til tekst 13">
            <a:extLst>
              <a:ext uri="{FF2B5EF4-FFF2-40B4-BE49-F238E27FC236}">
                <a16:creationId xmlns:a16="http://schemas.microsoft.com/office/drawing/2014/main" id="{CB00E54A-8020-4DF1-9142-88173915A5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61200" y="6436800"/>
            <a:ext cx="1904400" cy="2772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 r="3" b="2"/>
            </a:stretch>
          </a:blipFill>
        </p:spPr>
        <p:txBody>
          <a:bodyPr/>
          <a:lstStyle>
            <a:lvl1pPr algn="r"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F6685E3-752B-42DD-A7EF-B3FFA9C7818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12750" y="6332538"/>
            <a:ext cx="5827713" cy="261937"/>
          </a:xfrm>
        </p:spPr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en-US" dirty="0"/>
              <a:t>Department, Autho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935C42-D50A-4559-9002-D0628190C9F2}"/>
              </a:ext>
            </a:extLst>
          </p:cNvPr>
          <p:cNvSpPr txBox="1"/>
          <p:nvPr userDrawn="1"/>
        </p:nvSpPr>
        <p:spPr>
          <a:xfrm>
            <a:off x="330199" y="6070905"/>
            <a:ext cx="624092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tx1">
                    <a:lumMod val="100000"/>
                  </a:schemeClr>
                </a:solidFill>
              </a:rPr>
              <a:t>Strictly confidential and proprietary information of WSA Group – DO NOT circulate further</a:t>
            </a:r>
          </a:p>
        </p:txBody>
      </p:sp>
    </p:spTree>
    <p:extLst>
      <p:ext uri="{BB962C8B-B14F-4D97-AF65-F5344CB8AC3E}">
        <p14:creationId xmlns:p14="http://schemas.microsoft.com/office/powerpoint/2010/main" val="38992678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billede 11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bIns="72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Click on the icon to insert a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4583ED1-3E83-4C4C-A7FD-656F41C890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0199" y="3228050"/>
            <a:ext cx="5621338" cy="2269671"/>
          </a:xfrm>
          <a:solidFill>
            <a:schemeClr val="accent1"/>
          </a:solidFill>
        </p:spPr>
        <p:txBody>
          <a:bodyPr lIns="360000" tIns="72000" rIns="180000" bIns="72000" anchor="ctr" anchorCtr="0"/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25" name="Pladsholder til tekst 13">
            <a:extLst>
              <a:ext uri="{FF2B5EF4-FFF2-40B4-BE49-F238E27FC236}">
                <a16:creationId xmlns:a16="http://schemas.microsoft.com/office/drawing/2014/main" id="{173FFF39-01D5-0144-B4EA-316C8B9AD8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61200" y="6436800"/>
            <a:ext cx="1904400" cy="2772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r="3" b="2"/>
            </a:stretch>
          </a:blipFill>
        </p:spPr>
        <p:txBody>
          <a:bodyPr/>
          <a:lstStyle>
            <a:lvl1pPr algn="r"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30453AFE-B473-485B-AC00-F76BBD8D66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fld id="{543854DF-DEBB-4435-9AB7-C1697F06922E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F7C1188-A8DC-435A-85A6-78B97AD7EA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2323FEF6-1A81-44A2-87E5-922A470064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E2A58F8-DA4A-4589-B5D1-87175DCBCA8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12750" y="6332538"/>
            <a:ext cx="5827713" cy="261937"/>
          </a:xfrm>
        </p:spPr>
        <p:txBody>
          <a:bodyPr/>
          <a:lstStyle>
            <a:lvl1pPr>
              <a:buNone/>
              <a:defRPr sz="1100">
                <a:solidFill>
                  <a:schemeClr val="bg1">
                    <a:lumMod val="100000"/>
                  </a:schemeClr>
                </a:solidFill>
              </a:defRPr>
            </a:lvl1pPr>
          </a:lstStyle>
          <a:p>
            <a:pPr lvl="0"/>
            <a:r>
              <a:rPr lang="en-US" dirty="0"/>
              <a:t>Department, Autho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7EDB43-A26C-427B-9792-A2D721923255}"/>
              </a:ext>
            </a:extLst>
          </p:cNvPr>
          <p:cNvSpPr txBox="1"/>
          <p:nvPr userDrawn="1"/>
        </p:nvSpPr>
        <p:spPr>
          <a:xfrm>
            <a:off x="330199" y="6070905"/>
            <a:ext cx="623196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bg1">
                    <a:lumMod val="100000"/>
                  </a:schemeClr>
                </a:solidFill>
              </a:rPr>
              <a:t>Strictly confidential and proprietary information of WSA Group – DO NOT circulate further</a:t>
            </a:r>
          </a:p>
        </p:txBody>
      </p:sp>
    </p:spTree>
    <p:extLst>
      <p:ext uri="{BB962C8B-B14F-4D97-AF65-F5344CB8AC3E}">
        <p14:creationId xmlns:p14="http://schemas.microsoft.com/office/powerpoint/2010/main" val="32338513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tatem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D4E415-5F86-4E99-AEA7-053A93FAC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687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D4E415-5F86-4E99-AEA7-053A93FAC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42175" y="6516730"/>
            <a:ext cx="103702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25FE569-BF4F-4C64-B78A-4F5A8B560AE5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08574" y="6510380"/>
            <a:ext cx="4392226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trictly confidential and proprietary information of WSA Group – DO NOT circulate furth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BF5687D-AFBB-4FB8-A85A-565CADC5142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88577" y="6508800"/>
            <a:ext cx="1477819" cy="21636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F75AB8-1862-D644-99AC-D2E76DC94093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7807DC0-961E-4904-9B81-036433E66095}"/>
              </a:ext>
            </a:extLst>
          </p:cNvPr>
          <p:cNvSpPr txBox="1">
            <a:spLocks/>
          </p:cNvSpPr>
          <p:nvPr userDrawn="1"/>
        </p:nvSpPr>
        <p:spPr>
          <a:xfrm>
            <a:off x="330200" y="2050181"/>
            <a:ext cx="11536195" cy="180544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1400" dirty="0"/>
              <a:t>THIS PRESENTATION AND CONTENTS THEREIN IS THE PROPERTY OF WS AUDIOLOGY GROUP (“WSA”).</a:t>
            </a:r>
          </a:p>
          <a:p>
            <a:pPr lvl="0" algn="ctr"/>
            <a:r>
              <a:rPr lang="en-US" sz="1400" dirty="0"/>
              <a:t>IT CONTAINS STRICTLY CONFIDENTIAL INFORMATION OF WSA AND IS INTENDED ONLY FOR</a:t>
            </a:r>
          </a:p>
          <a:p>
            <a:pPr lvl="0" algn="ctr"/>
            <a:r>
              <a:rPr lang="en-US" sz="1400" dirty="0"/>
              <a:t>THE PERSON TO WHOM IT IS TRANSMITTED. WITH THE RECEIPT OF THIS DOCUMENT, EACH</a:t>
            </a:r>
          </a:p>
          <a:p>
            <a:pPr lvl="0" algn="ctr"/>
            <a:r>
              <a:rPr lang="en-US" sz="1400" dirty="0"/>
              <a:t>RECIPIENT ACKNOWLEDGES AND AGREES THAT: (A) THIS DOCUMENT IS NOT INTENDED TO</a:t>
            </a:r>
          </a:p>
          <a:p>
            <a:pPr lvl="0" algn="ctr"/>
            <a:r>
              <a:rPr lang="en-US" sz="1400" dirty="0"/>
              <a:t>BE DISTRIBUTED TO ANY OTHER PARTY; AND (B) EACH RECIPIENT WILL NOT COPY,</a:t>
            </a:r>
          </a:p>
          <a:p>
            <a:pPr lvl="0" algn="ctr"/>
            <a:r>
              <a:rPr lang="en-US" sz="1400" dirty="0"/>
              <a:t>REPRODUCE, DIVULGE OR DISTRIBUTE THIS DOCUMENT, IN WHOLE OR IN PART, </a:t>
            </a:r>
          </a:p>
          <a:p>
            <a:pPr lvl="0" algn="ctr"/>
            <a:r>
              <a:rPr lang="en-US" sz="1400" dirty="0"/>
              <a:t>WITHOUT THE WRITTEN CONSENT OF THE OWNER OF THE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1064481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202" y="303213"/>
            <a:ext cx="11530598" cy="1001712"/>
          </a:xfrm>
        </p:spPr>
        <p:txBody>
          <a:bodyPr/>
          <a:lstStyle>
            <a:lvl1pPr>
              <a:defRPr sz="2800" baseline="0"/>
            </a:lvl1pPr>
          </a:lstStyle>
          <a:p>
            <a:r>
              <a:rPr lang="en-US" dirty="0"/>
              <a:t>Click to add agenda tit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5B00324-4B6F-49D2-BC6B-F7C89F5351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0203" y="1592263"/>
            <a:ext cx="11530598" cy="44656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83069B-7385-444D-A0E1-B12E6807FAC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27F4DB-9F01-4E1C-BD8E-8ED6E89D353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008574" y="6523199"/>
            <a:ext cx="4449376" cy="216361"/>
          </a:xfrm>
        </p:spPr>
        <p:txBody>
          <a:bodyPr anchor="ctr"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</p:spTree>
    <p:extLst>
      <p:ext uri="{BB962C8B-B14F-4D97-AF65-F5344CB8AC3E}">
        <p14:creationId xmlns:p14="http://schemas.microsoft.com/office/powerpoint/2010/main" val="3995587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499B747F-5D8D-4322-B1D1-DD45A630E5A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B7E8F"/>
          </a:solidFill>
          <a:ln>
            <a:solidFill>
              <a:srgbClr val="7B7E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add agenda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0201" y="1600900"/>
            <a:ext cx="11530011" cy="4457000"/>
          </a:xfrm>
        </p:spPr>
        <p:txBody>
          <a:bodyPr/>
          <a:lstStyle>
            <a:lvl1pPr marL="0" indent="0">
              <a:buFont typeface="Noto Sans" panose="020B0502040504020204" pitchFamily="34" charset="0"/>
              <a:buChar char="​"/>
              <a:defRPr sz="2000">
                <a:solidFill>
                  <a:schemeClr val="tx1"/>
                </a:solidFill>
              </a:defRPr>
            </a:lvl1pPr>
            <a:lvl2pPr marL="180000">
              <a:buClrTx/>
              <a:defRPr>
                <a:solidFill>
                  <a:schemeClr val="tx1"/>
                </a:solidFill>
              </a:defRPr>
            </a:lvl2pPr>
            <a:lvl3pPr marL="360000">
              <a:buClrTx/>
              <a:defRPr>
                <a:solidFill>
                  <a:schemeClr val="tx1"/>
                </a:solidFill>
              </a:defRPr>
            </a:lvl3pPr>
            <a:lvl4pPr marL="0" indent="0">
              <a:buClrTx/>
              <a:defRPr>
                <a:solidFill>
                  <a:schemeClr val="tx1"/>
                </a:solidFill>
              </a:defRPr>
            </a:lvl4pPr>
            <a:lvl5pPr marL="0" indent="0">
              <a:buClrTx/>
              <a:defRPr>
                <a:solidFill>
                  <a:schemeClr val="tx1"/>
                </a:solidFill>
              </a:defRPr>
            </a:lvl5pPr>
            <a:lvl6pPr marL="0" indent="0">
              <a:buClrTx/>
              <a:defRPr>
                <a:solidFill>
                  <a:schemeClr val="tx1"/>
                </a:solidFill>
              </a:defRPr>
            </a:lvl6pPr>
            <a:lvl7pPr marL="0" indent="0">
              <a:buClrTx/>
              <a:defRPr>
                <a:solidFill>
                  <a:schemeClr val="tx1"/>
                </a:solidFill>
              </a:defRPr>
            </a:lvl7pPr>
            <a:lvl8pPr marL="0" indent="0">
              <a:buClrTx/>
              <a:defRPr>
                <a:solidFill>
                  <a:schemeClr val="tx1"/>
                </a:solidFill>
              </a:defRPr>
            </a:lvl8pPr>
            <a:lvl9pPr marL="0" indent="0">
              <a:buClrTx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 A</a:t>
            </a:r>
          </a:p>
          <a:p>
            <a:pPr lvl="2"/>
            <a:r>
              <a:rPr lang="en-US" dirty="0"/>
              <a:t>Third level B</a:t>
            </a:r>
          </a:p>
          <a:p>
            <a:pPr lvl="4"/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42175" y="6516730"/>
            <a:ext cx="103702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25FE569-BF4F-4C64-B78A-4F5A8B560AE5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08574" y="6510380"/>
            <a:ext cx="4392226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trictly confidential and proprietary information of WSA Group – DO NOT circulate furth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BF5687D-AFBB-4FB8-A85A-565CADC514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88577" y="6508800"/>
            <a:ext cx="1477819" cy="21636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F75AB8-1862-D644-99AC-D2E76DC94093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314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296863"/>
            <a:ext cx="11530012" cy="1008061"/>
          </a:xfrm>
        </p:spPr>
        <p:txBody>
          <a:bodyPr/>
          <a:lstStyle>
            <a:lvl1pPr>
              <a:defRPr sz="2800">
                <a:solidFill>
                  <a:srgbClr val="515065"/>
                </a:solidFill>
              </a:defRPr>
            </a:lvl1pPr>
          </a:lstStyle>
          <a:p>
            <a:r>
              <a:rPr lang="en-US" dirty="0"/>
              <a:t>Click to add action title (full sentenc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0201" y="1592262"/>
            <a:ext cx="11530011" cy="446563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</a:lstStyle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  <a:p>
            <a:pPr lvl="3"/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5D92770-EB54-48F5-A6C5-191A5FCB1D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66294CC-78CF-4609-9AAB-227F62686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08574" y="6523199"/>
            <a:ext cx="4365332" cy="216361"/>
          </a:xfrm>
        </p:spPr>
        <p:txBody>
          <a:bodyPr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F91A81C6-7549-41E7-805E-29060D2205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613" y="6164394"/>
            <a:ext cx="5622926" cy="365555"/>
          </a:xfrm>
        </p:spPr>
        <p:txBody>
          <a:bodyPr anchor="t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buNone/>
              <a:defRPr sz="1000"/>
            </a:lvl2pPr>
            <a:lvl3pPr marL="0" indent="0">
              <a:lnSpc>
                <a:spcPct val="110000"/>
              </a:lnSpc>
              <a:buNone/>
              <a:defRPr sz="1000"/>
            </a:lvl3pPr>
            <a:lvl4pPr marL="0" indent="0">
              <a:lnSpc>
                <a:spcPct val="110000"/>
              </a:lnSpc>
              <a:buNone/>
              <a:defRPr sz="1000"/>
            </a:lvl4pPr>
            <a:lvl5pPr marL="0" indent="0">
              <a:lnSpc>
                <a:spcPct val="110000"/>
              </a:lnSpc>
              <a:buNone/>
              <a:defRPr sz="1000"/>
            </a:lvl5pPr>
          </a:lstStyle>
          <a:p>
            <a:pPr lvl="0"/>
            <a:r>
              <a:rPr lang="en-US" dirty="0"/>
              <a:t>Click to add note text, use | to divide notes</a:t>
            </a:r>
          </a:p>
        </p:txBody>
      </p:sp>
    </p:spTree>
    <p:extLst>
      <p:ext uri="{BB962C8B-B14F-4D97-AF65-F5344CB8AC3E}">
        <p14:creationId xmlns:p14="http://schemas.microsoft.com/office/powerpoint/2010/main" val="4894867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CC3AC01-551F-4A44-B1AE-7CAB5146C8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action title (full sentence)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B68E17-83E2-4AE5-A3AC-709151B37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7C1EDF-3D88-4273-9912-48B364D434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08574" y="6523199"/>
            <a:ext cx="4365332" cy="216361"/>
          </a:xfrm>
        </p:spPr>
        <p:txBody>
          <a:bodyPr anchor="ctr"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5AAA109A-3D46-4456-9DB1-8ACC906498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8613" y="6164394"/>
            <a:ext cx="5622926" cy="365555"/>
          </a:xfrm>
        </p:spPr>
        <p:txBody>
          <a:bodyPr anchor="t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buNone/>
              <a:defRPr sz="1000"/>
            </a:lvl2pPr>
            <a:lvl3pPr marL="0" indent="0">
              <a:lnSpc>
                <a:spcPct val="110000"/>
              </a:lnSpc>
              <a:buNone/>
              <a:defRPr sz="1000"/>
            </a:lvl3pPr>
            <a:lvl4pPr marL="0" indent="0">
              <a:lnSpc>
                <a:spcPct val="110000"/>
              </a:lnSpc>
              <a:buNone/>
              <a:defRPr sz="1000"/>
            </a:lvl4pPr>
            <a:lvl5pPr marL="0" indent="0">
              <a:lnSpc>
                <a:spcPct val="110000"/>
              </a:lnSpc>
              <a:buNone/>
              <a:defRPr sz="1000"/>
            </a:lvl5pPr>
          </a:lstStyle>
          <a:p>
            <a:pPr lvl="0"/>
            <a:r>
              <a:rPr lang="en-US" dirty="0"/>
              <a:t>Click to add note text, use | to divide notes</a:t>
            </a:r>
          </a:p>
        </p:txBody>
      </p:sp>
    </p:spTree>
    <p:extLst>
      <p:ext uri="{BB962C8B-B14F-4D97-AF65-F5344CB8AC3E}">
        <p14:creationId xmlns:p14="http://schemas.microsoft.com/office/powerpoint/2010/main" val="6506466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296863"/>
            <a:ext cx="11530012" cy="1008062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action title (full sentenc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0201" y="1592262"/>
            <a:ext cx="5621337" cy="4465637"/>
          </a:xfrm>
        </p:spPr>
        <p:txBody>
          <a:bodyPr/>
          <a:lstStyle/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40462" y="1592262"/>
            <a:ext cx="5622925" cy="4465637"/>
          </a:xfrm>
        </p:spPr>
        <p:txBody>
          <a:bodyPr/>
          <a:lstStyle/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E6A2F52-247B-47DB-A1F5-0029E2877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5151AC1-E7EC-4803-89BF-1391C7F99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08574" y="6523199"/>
            <a:ext cx="4365332" cy="216361"/>
          </a:xfrm>
        </p:spPr>
        <p:txBody>
          <a:bodyPr anchor="ctr"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F9297089-14EB-4254-B6EC-FF25870EE6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613" y="6164394"/>
            <a:ext cx="5622926" cy="365555"/>
          </a:xfrm>
        </p:spPr>
        <p:txBody>
          <a:bodyPr anchor="t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buNone/>
              <a:defRPr sz="1000"/>
            </a:lvl2pPr>
            <a:lvl3pPr marL="0" indent="0">
              <a:lnSpc>
                <a:spcPct val="110000"/>
              </a:lnSpc>
              <a:buNone/>
              <a:defRPr sz="1000"/>
            </a:lvl3pPr>
            <a:lvl4pPr marL="0" indent="0">
              <a:lnSpc>
                <a:spcPct val="110000"/>
              </a:lnSpc>
              <a:buNone/>
              <a:defRPr sz="1000"/>
            </a:lvl4pPr>
            <a:lvl5pPr marL="0" indent="0">
              <a:lnSpc>
                <a:spcPct val="110000"/>
              </a:lnSpc>
              <a:buNone/>
              <a:defRPr sz="1000"/>
            </a:lvl5pPr>
          </a:lstStyle>
          <a:p>
            <a:pPr lvl="0"/>
            <a:r>
              <a:rPr lang="en-US" dirty="0"/>
              <a:t>Click to add note text, use | to divide notes</a:t>
            </a:r>
          </a:p>
        </p:txBody>
      </p:sp>
    </p:spTree>
    <p:extLst>
      <p:ext uri="{BB962C8B-B14F-4D97-AF65-F5344CB8AC3E}">
        <p14:creationId xmlns:p14="http://schemas.microsoft.com/office/powerpoint/2010/main" val="13171662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6775F7-08B3-462B-B182-D788E0DE6E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976372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95" imgH="396" progId="TCLayout.ActiveDocument.1">
                  <p:embed/>
                </p:oleObj>
              </mc:Choice>
              <mc:Fallback>
                <p:oleObj name="think-cell Slide" r:id="rId2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6775F7-08B3-462B-B182-D788E0DE6E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A2AC0D6-1224-4D76-A154-25AE5D1B3A38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 err="1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Noto Sans" panose="020B050204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0200" y="296863"/>
            <a:ext cx="11528199" cy="1004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add a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0199" y="1597024"/>
            <a:ext cx="11530800" cy="44608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  <a:p>
            <a:pPr lvl="5"/>
            <a:r>
              <a:rPr lang="en-US" dirty="0"/>
              <a:t>Level 6</a:t>
            </a:r>
          </a:p>
          <a:p>
            <a:pPr lvl="6"/>
            <a:r>
              <a:rPr lang="en-US" dirty="0"/>
              <a:t>Level 7</a:t>
            </a:r>
          </a:p>
          <a:p>
            <a:pPr lvl="7"/>
            <a:r>
              <a:rPr lang="en-US" dirty="0"/>
              <a:t>Level 8</a:t>
            </a:r>
          </a:p>
          <a:p>
            <a:pPr lvl="8"/>
            <a:r>
              <a:rPr lang="en-US" dirty="0"/>
              <a:t>Level 9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4020473-A488-4427-BC00-16D9688002A3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8577" y="6508800"/>
            <a:ext cx="1477819" cy="21636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93BF2F1-D8DB-3E48-93C2-8B7204D42F69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B46FF480-48F6-4782-A91D-AAA6D17064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2175" y="6523200"/>
            <a:ext cx="103702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solidFill>
                  <a:schemeClr val="tx2"/>
                </a:solidFill>
                <a:latin typeface="+mn-lt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D51FB231-477A-4604-830A-A2BE85C595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08574" y="6529549"/>
            <a:ext cx="4365332" cy="21636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tx2"/>
                </a:solidFill>
                <a:latin typeface="+mn-lt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r>
              <a:rPr lang="en-US" dirty="0"/>
              <a:t>Strictly confidential and proprietary information of WSA Group – DO NOT circulate further</a:t>
            </a:r>
          </a:p>
        </p:txBody>
      </p:sp>
      <p:sp>
        <p:nvSpPr>
          <p:cNvPr id="10" name="Internal [Sticker]" hidden="1">
            <a:extLst>
              <a:ext uri="{FF2B5EF4-FFF2-40B4-BE49-F238E27FC236}">
                <a16:creationId xmlns:a16="http://schemas.microsoft.com/office/drawing/2014/main" id="{457D40C3-9A80-445A-A2D2-C237999C966A}"/>
              </a:ext>
            </a:extLst>
          </p:cNvPr>
          <p:cNvSpPr/>
          <p:nvPr userDrawn="1"/>
        </p:nvSpPr>
        <p:spPr>
          <a:xfrm>
            <a:off x="10453054" y="39620"/>
            <a:ext cx="1654629" cy="269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INTERNAL</a:t>
            </a:r>
          </a:p>
        </p:txBody>
      </p:sp>
      <p:sp>
        <p:nvSpPr>
          <p:cNvPr id="15" name="Discussion [Sticker]" hidden="1">
            <a:extLst>
              <a:ext uri="{FF2B5EF4-FFF2-40B4-BE49-F238E27FC236}">
                <a16:creationId xmlns:a16="http://schemas.microsoft.com/office/drawing/2014/main" id="{D12F4F81-BD86-4590-BA4A-0264CF04327D}"/>
              </a:ext>
            </a:extLst>
          </p:cNvPr>
          <p:cNvSpPr/>
          <p:nvPr userDrawn="1"/>
        </p:nvSpPr>
        <p:spPr>
          <a:xfrm>
            <a:off x="10453054" y="39620"/>
            <a:ext cx="1654629" cy="269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DISCUSSION</a:t>
            </a:r>
          </a:p>
        </p:txBody>
      </p:sp>
      <p:sp>
        <p:nvSpPr>
          <p:cNvPr id="17" name="Draft [Sticker]" hidden="1">
            <a:extLst>
              <a:ext uri="{FF2B5EF4-FFF2-40B4-BE49-F238E27FC236}">
                <a16:creationId xmlns:a16="http://schemas.microsoft.com/office/drawing/2014/main" id="{0574421D-43C5-448F-B5A8-0AD50C2FA46D}"/>
              </a:ext>
            </a:extLst>
          </p:cNvPr>
          <p:cNvSpPr/>
          <p:nvPr userDrawn="1"/>
        </p:nvSpPr>
        <p:spPr>
          <a:xfrm>
            <a:off x="10453054" y="39620"/>
            <a:ext cx="1654629" cy="269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DRAFT</a:t>
            </a:r>
          </a:p>
        </p:txBody>
      </p:sp>
      <p:sp>
        <p:nvSpPr>
          <p:cNvPr id="18" name="Final [Sticker]" hidden="1">
            <a:extLst>
              <a:ext uri="{FF2B5EF4-FFF2-40B4-BE49-F238E27FC236}">
                <a16:creationId xmlns:a16="http://schemas.microsoft.com/office/drawing/2014/main" id="{9148D1E2-CB25-44A3-8D08-925C7AABD79B}"/>
              </a:ext>
            </a:extLst>
          </p:cNvPr>
          <p:cNvSpPr/>
          <p:nvPr userDrawn="1"/>
        </p:nvSpPr>
        <p:spPr>
          <a:xfrm>
            <a:off x="10453054" y="39620"/>
            <a:ext cx="1654629" cy="269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FINAL</a:t>
            </a:r>
          </a:p>
        </p:txBody>
      </p:sp>
      <p:sp>
        <p:nvSpPr>
          <p:cNvPr id="19" name="Backup [Sticker]" hidden="1">
            <a:extLst>
              <a:ext uri="{FF2B5EF4-FFF2-40B4-BE49-F238E27FC236}">
                <a16:creationId xmlns:a16="http://schemas.microsoft.com/office/drawing/2014/main" id="{D4BE820D-7801-4C09-B922-4BAC8FEE9FCD}"/>
              </a:ext>
            </a:extLst>
          </p:cNvPr>
          <p:cNvSpPr/>
          <p:nvPr userDrawn="1"/>
        </p:nvSpPr>
        <p:spPr>
          <a:xfrm>
            <a:off x="10453054" y="39620"/>
            <a:ext cx="1654629" cy="269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5" r:id="rId2"/>
    <p:sldLayoutId id="2147483667" r:id="rId3"/>
    <p:sldLayoutId id="2147483688" r:id="rId4"/>
    <p:sldLayoutId id="2147483666" r:id="rId5"/>
    <p:sldLayoutId id="2147483674" r:id="rId6"/>
    <p:sldLayoutId id="2147483663" r:id="rId7"/>
    <p:sldLayoutId id="2147483681" r:id="rId8"/>
    <p:sldLayoutId id="2147483664" r:id="rId9"/>
    <p:sldLayoutId id="2147483689" r:id="rId10"/>
    <p:sldLayoutId id="2147483679" r:id="rId11"/>
    <p:sldLayoutId id="2147483680" r:id="rId12"/>
    <p:sldLayoutId id="2147483662" r:id="rId13"/>
    <p:sldLayoutId id="2147483669" r:id="rId14"/>
    <p:sldLayoutId id="2147483675" r:id="rId15"/>
    <p:sldLayoutId id="2147483676" r:id="rId16"/>
    <p:sldLayoutId id="2147483683" r:id="rId17"/>
    <p:sldLayoutId id="2147483678" r:id="rId18"/>
    <p:sldLayoutId id="2147483684" r:id="rId19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0" kern="1200">
          <a:solidFill>
            <a:srgbClr val="515065"/>
          </a:solidFill>
          <a:latin typeface="+mj-lt"/>
          <a:ea typeface="Noto Sans" panose="020B0502040504020204" pitchFamily="34" charset="0"/>
          <a:cs typeface="Noto Sans" panose="020B050204050402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SzPct val="80000"/>
        <a:buFont typeface="Noto Sans" panose="020B0604020202020204" charset="0"/>
        <a:buChar char="▪"/>
        <a:defRPr sz="2000" kern="120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SzPct val="80000"/>
        <a:buFont typeface="Noto Sans" panose="020B0604020202020204" charset="0"/>
        <a:buChar char="–"/>
        <a:defRPr sz="1800" kern="1200" baseline="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SzPct val="80000"/>
        <a:buFont typeface="Noto Sans" panose="020B0604020202020204" charset="0"/>
        <a:buChar char="▫"/>
        <a:defRPr sz="1600" kern="120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3pPr>
      <a:lvl4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Noto Sans" panose="020B0604020202020204" charset="0"/>
        <a:buChar char="▪"/>
        <a:defRPr sz="2000" kern="120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4pPr>
      <a:lvl5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Noto Sans" panose="020B0604020202020204" charset="0"/>
        <a:buChar char="–"/>
        <a:defRPr sz="1800" kern="1200" baseline="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5pPr>
      <a:lvl6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Noto Sans" panose="020B0604020202020204" charset="0"/>
        <a:buChar char="▫"/>
        <a:defRPr sz="1600" kern="1200" baseline="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6pPr>
      <a:lvl7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Noto Sans" panose="020B0604020202020204" charset="0"/>
        <a:buChar char="▪"/>
        <a:defRPr sz="2000" kern="120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7pPr>
      <a:lvl8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Noto Sans" panose="020B0604020202020204" charset="0"/>
        <a:buChar char="–"/>
        <a:defRPr sz="1800" kern="120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8pPr>
      <a:lvl9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Noto Sans" panose="020B0604020202020204" charset="0"/>
        <a:buChar char="▫"/>
        <a:defRPr sz="1600" kern="120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08" userDrawn="1">
          <p15:clr>
            <a:srgbClr val="F26B43"/>
          </p15:clr>
        </p15:guide>
        <p15:guide id="3" orient="horz" pos="187" userDrawn="1">
          <p15:clr>
            <a:srgbClr val="F26B43"/>
          </p15:clr>
        </p15:guide>
        <p15:guide id="4" orient="horz" pos="822" userDrawn="1">
          <p15:clr>
            <a:srgbClr val="F26B43"/>
          </p15:clr>
        </p15:guide>
        <p15:guide id="5" pos="3749" userDrawn="1">
          <p15:clr>
            <a:srgbClr val="F26B43"/>
          </p15:clr>
        </p15:guide>
        <p15:guide id="6" orient="horz" pos="1003" userDrawn="1">
          <p15:clr>
            <a:srgbClr val="F26B43"/>
          </p15:clr>
        </p15:guide>
        <p15:guide id="7" orient="horz" pos="3816" userDrawn="1">
          <p15:clr>
            <a:srgbClr val="F26B43"/>
          </p15:clr>
        </p15:guide>
        <p15:guide id="8" pos="3931" userDrawn="1">
          <p15:clr>
            <a:srgbClr val="F26B43"/>
          </p15:clr>
        </p15:guide>
        <p15:guide id="9" pos="7473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3.xml"/><Relationship Id="rId5" Type="http://schemas.openxmlformats.org/officeDocument/2006/relationships/image" Target="../media/image14.jpeg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1">
            <a:extLst>
              <a:ext uri="{FF2B5EF4-FFF2-40B4-BE49-F238E27FC236}">
                <a16:creationId xmlns:a16="http://schemas.microsoft.com/office/drawing/2014/main" id="{B2427DEB-1516-4A6E-A3AF-C4F92F209AD7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3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97" b="6797"/>
          <a:stretch/>
        </p:blipFill>
        <p:spPr>
          <a:xfrm>
            <a:off x="330200" y="296862"/>
            <a:ext cx="11528425" cy="560319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D28E617-ED86-4933-A08A-77442ED9F05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ata Binding Magic</a:t>
            </a:r>
            <a:br>
              <a:rPr lang="de-DE" dirty="0"/>
            </a:br>
            <a:r>
              <a:rPr lang="de-DE" sz="1800" dirty="0"/>
              <a:t>Ivan </a:t>
            </a:r>
            <a:r>
              <a:rPr lang="de-DE" sz="1800" dirty="0" err="1"/>
              <a:t>Djikovski</a:t>
            </a:r>
            <a:endParaRPr lang="en-US" sz="18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9D83D9-CEE9-412A-9BB6-11E3C258772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1CD44C5-6B23-48C1-9CBC-DA5D4F557BC5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6DAF3F-BA91-4A10-BE79-A18B9053C4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A9EC477-5738-4C4A-AF23-F54D1BE1AF9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2750" y="6332538"/>
            <a:ext cx="5827713" cy="261937"/>
          </a:xfrm>
        </p:spPr>
        <p:txBody>
          <a:bodyPr/>
          <a:lstStyle/>
          <a:p>
            <a:r>
              <a:rPr lang="de-DE" dirty="0"/>
              <a:t>SW B2C ERL, Ivan </a:t>
            </a:r>
            <a:r>
              <a:rPr lang="de-DE" dirty="0" err="1"/>
              <a:t>Djikovski</a:t>
            </a:r>
            <a:endParaRPr lang="en-US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710964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87FEFD-54A2-44BE-B43D-597DC494A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F98DFC-F6F8-4D3D-A312-524275051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Health – Ivan </a:t>
            </a:r>
            <a:r>
              <a:rPr lang="en-US" dirty="0" err="1"/>
              <a:t>Djikovski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519DD51-E5AD-49E8-B0A1-31A86AE80CCE}"/>
              </a:ext>
            </a:extLst>
          </p:cNvPr>
          <p:cNvSpPr txBox="1">
            <a:spLocks/>
          </p:cNvSpPr>
          <p:nvPr/>
        </p:nvSpPr>
        <p:spPr>
          <a:xfrm>
            <a:off x="330200" y="296863"/>
            <a:ext cx="11528199" cy="10044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rgbClr val="515065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r>
              <a:rPr lang="en-US"/>
              <a:t>Agenda</a:t>
            </a:r>
            <a:endParaRPr lang="en-US" dirty="0"/>
          </a:p>
        </p:txBody>
      </p:sp>
      <p:grpSp>
        <p:nvGrpSpPr>
          <p:cNvPr id="8" name="SP Agenda Section">
            <a:extLst>
              <a:ext uri="{FF2B5EF4-FFF2-40B4-BE49-F238E27FC236}">
                <a16:creationId xmlns:a16="http://schemas.microsoft.com/office/drawing/2014/main" id="{31713516-4A54-4F3B-8F41-39518C90B139}"/>
              </a:ext>
            </a:extLst>
          </p:cNvPr>
          <p:cNvGrpSpPr/>
          <p:nvPr/>
        </p:nvGrpSpPr>
        <p:grpSpPr>
          <a:xfrm>
            <a:off x="1894787" y="1450088"/>
            <a:ext cx="8637452" cy="901869"/>
            <a:chOff x="1894787" y="1450088"/>
            <a:chExt cx="8637452" cy="901869"/>
          </a:xfrm>
        </p:grpSpPr>
        <p:sp>
          <p:nvSpPr>
            <p:cNvPr id="9" name="Textbox">
              <a:hlinkClick r:id="rId3" action="ppaction://hlinksldjump"/>
              <a:extLst>
                <a:ext uri="{FF2B5EF4-FFF2-40B4-BE49-F238E27FC236}">
                  <a16:creationId xmlns:a16="http://schemas.microsoft.com/office/drawing/2014/main" id="{7CAD8B61-A8C5-4BDF-B021-3005A71462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09900" y="1634863"/>
              <a:ext cx="7522339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/>
                <a:t>Magic or Illusion? (How it works? </a:t>
              </a:r>
              <a:r>
                <a:rPr lang="en-US" sz="1600" dirty="0" err="1"/>
                <a:t>INotifyPropertyChanged</a:t>
              </a:r>
              <a:r>
                <a:rPr lang="en-US" sz="1600" dirty="0"/>
                <a:t>, Binding Class)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BCBC489-7B15-4EC9-A8A0-197AB347B52D}"/>
                </a:ext>
              </a:extLst>
            </p:cNvPr>
            <p:cNvSpPr/>
            <p:nvPr userDrawn="1"/>
          </p:nvSpPr>
          <p:spPr>
            <a:xfrm>
              <a:off x="1894787" y="1450088"/>
              <a:ext cx="163805" cy="90186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1" name="Textbox">
              <a:extLst>
                <a:ext uri="{FF2B5EF4-FFF2-40B4-BE49-F238E27FC236}">
                  <a16:creationId xmlns:a16="http://schemas.microsoft.com/office/drawing/2014/main" id="{609465EF-6B9C-46E0-8DF7-5EE8E15B744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804083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b="1" dirty="0">
                  <a:solidFill>
                    <a:schemeClr val="tx1"/>
                  </a:solidFill>
                </a:rPr>
                <a:t>Topic:</a:t>
              </a:r>
            </a:p>
          </p:txBody>
        </p:sp>
      </p:grpSp>
      <p:grpSp>
        <p:nvGrpSpPr>
          <p:cNvPr id="12" name="SP Agenda Section">
            <a:extLst>
              <a:ext uri="{FF2B5EF4-FFF2-40B4-BE49-F238E27FC236}">
                <a16:creationId xmlns:a16="http://schemas.microsoft.com/office/drawing/2014/main" id="{EFCE7ABB-8566-41F3-A131-2A234A6C81E1}"/>
              </a:ext>
            </a:extLst>
          </p:cNvPr>
          <p:cNvGrpSpPr/>
          <p:nvPr/>
        </p:nvGrpSpPr>
        <p:grpSpPr>
          <a:xfrm>
            <a:off x="1894787" y="2593442"/>
            <a:ext cx="8637452" cy="901869"/>
            <a:chOff x="1894787" y="1450088"/>
            <a:chExt cx="8637452" cy="901869"/>
          </a:xfrm>
        </p:grpSpPr>
        <p:sp>
          <p:nvSpPr>
            <p:cNvPr id="13" name="Textbox">
              <a:hlinkClick r:id="" action="ppaction://noaction"/>
              <a:extLst>
                <a:ext uri="{FF2B5EF4-FFF2-40B4-BE49-F238E27FC236}">
                  <a16:creationId xmlns:a16="http://schemas.microsoft.com/office/drawing/2014/main" id="{F28B56B0-DC9E-4AA4-BAD9-6CC15DE5AF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09900" y="1634863"/>
              <a:ext cx="7522339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/>
                <a:t>Binding Context property and hierarchy, Template Binding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0124BD3-871E-4C1B-9CCE-C1F2EB3D976F}"/>
                </a:ext>
              </a:extLst>
            </p:cNvPr>
            <p:cNvSpPr/>
            <p:nvPr userDrawn="1"/>
          </p:nvSpPr>
          <p:spPr>
            <a:xfrm>
              <a:off x="1894787" y="1450088"/>
              <a:ext cx="163805" cy="90186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err="1"/>
            </a:p>
          </p:txBody>
        </p:sp>
        <p:sp>
          <p:nvSpPr>
            <p:cNvPr id="15" name="Textbox">
              <a:extLst>
                <a:ext uri="{FF2B5EF4-FFF2-40B4-BE49-F238E27FC236}">
                  <a16:creationId xmlns:a16="http://schemas.microsoft.com/office/drawing/2014/main" id="{BD98B5EA-0F91-42D6-9821-61D8CC8DD28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804083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b="1">
                  <a:solidFill>
                    <a:schemeClr val="tx1"/>
                  </a:solidFill>
                </a:rPr>
                <a:t>Topic:</a:t>
              </a:r>
            </a:p>
          </p:txBody>
        </p:sp>
      </p:grpSp>
      <p:grpSp>
        <p:nvGrpSpPr>
          <p:cNvPr id="16" name="SP Agenda Section">
            <a:extLst>
              <a:ext uri="{FF2B5EF4-FFF2-40B4-BE49-F238E27FC236}">
                <a16:creationId xmlns:a16="http://schemas.microsoft.com/office/drawing/2014/main" id="{2C7E74B6-E668-443C-9D52-151A4A1631D0}"/>
              </a:ext>
            </a:extLst>
          </p:cNvPr>
          <p:cNvGrpSpPr/>
          <p:nvPr/>
        </p:nvGrpSpPr>
        <p:grpSpPr>
          <a:xfrm>
            <a:off x="1894787" y="3736796"/>
            <a:ext cx="8637452" cy="901869"/>
            <a:chOff x="1894787" y="1450088"/>
            <a:chExt cx="8637452" cy="901869"/>
          </a:xfrm>
        </p:grpSpPr>
        <p:sp>
          <p:nvSpPr>
            <p:cNvPr id="17" name="Textbox">
              <a:hlinkClick r:id="" action="ppaction://noaction"/>
              <a:extLst>
                <a:ext uri="{FF2B5EF4-FFF2-40B4-BE49-F238E27FC236}">
                  <a16:creationId xmlns:a16="http://schemas.microsoft.com/office/drawing/2014/main" id="{B626A650-1DC7-47E7-A48F-E17E549A45C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09900" y="1634863"/>
              <a:ext cx="7522339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/>
                <a:t>Relative Bindings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0C788A5-AAE5-4776-A359-5E2C0F541AA4}"/>
                </a:ext>
              </a:extLst>
            </p:cNvPr>
            <p:cNvSpPr/>
            <p:nvPr userDrawn="1"/>
          </p:nvSpPr>
          <p:spPr>
            <a:xfrm>
              <a:off x="1894787" y="1450088"/>
              <a:ext cx="163805" cy="90186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9" name="Textbox">
              <a:extLst>
                <a:ext uri="{FF2B5EF4-FFF2-40B4-BE49-F238E27FC236}">
                  <a16:creationId xmlns:a16="http://schemas.microsoft.com/office/drawing/2014/main" id="{18BC72A1-BC04-4580-9852-2F680EA64F9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804083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b="1" dirty="0">
                  <a:solidFill>
                    <a:schemeClr val="tx1"/>
                  </a:solidFill>
                </a:rPr>
                <a:t>Topic: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175002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87FEFD-54A2-44BE-B43D-597DC494A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F98DFC-F6F8-4D3D-A312-524275051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Health – Ivan </a:t>
            </a:r>
            <a:r>
              <a:rPr lang="en-US" dirty="0" err="1"/>
              <a:t>Djikovski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519DD51-E5AD-49E8-B0A1-31A86AE80CCE}"/>
              </a:ext>
            </a:extLst>
          </p:cNvPr>
          <p:cNvSpPr txBox="1">
            <a:spLocks/>
          </p:cNvSpPr>
          <p:nvPr/>
        </p:nvSpPr>
        <p:spPr>
          <a:xfrm>
            <a:off x="330200" y="296863"/>
            <a:ext cx="11528199" cy="10044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rgbClr val="515065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r>
              <a:rPr lang="en-US" dirty="0"/>
              <a:t>Goals</a:t>
            </a:r>
          </a:p>
        </p:txBody>
      </p:sp>
      <p:grpSp>
        <p:nvGrpSpPr>
          <p:cNvPr id="8" name="SP Agenda Section">
            <a:extLst>
              <a:ext uri="{FF2B5EF4-FFF2-40B4-BE49-F238E27FC236}">
                <a16:creationId xmlns:a16="http://schemas.microsoft.com/office/drawing/2014/main" id="{31713516-4A54-4F3B-8F41-39518C90B139}"/>
              </a:ext>
            </a:extLst>
          </p:cNvPr>
          <p:cNvGrpSpPr/>
          <p:nvPr/>
        </p:nvGrpSpPr>
        <p:grpSpPr>
          <a:xfrm>
            <a:off x="1894787" y="1450088"/>
            <a:ext cx="7992119" cy="901869"/>
            <a:chOff x="1894787" y="1450088"/>
            <a:chExt cx="7992119" cy="901869"/>
          </a:xfrm>
        </p:grpSpPr>
        <p:sp>
          <p:nvSpPr>
            <p:cNvPr id="9" name="Textbox">
              <a:hlinkClick r:id="rId3" action="ppaction://hlinksldjump"/>
              <a:extLst>
                <a:ext uri="{FF2B5EF4-FFF2-40B4-BE49-F238E27FC236}">
                  <a16:creationId xmlns:a16="http://schemas.microsoft.com/office/drawing/2014/main" id="{7CAD8B61-A8C5-4BDF-B021-3005A71462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7522339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/>
                <a:t>Demystify Data Binding (Magic or Illusion?)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BCBC489-7B15-4EC9-A8A0-197AB347B52D}"/>
                </a:ext>
              </a:extLst>
            </p:cNvPr>
            <p:cNvSpPr/>
            <p:nvPr userDrawn="1"/>
          </p:nvSpPr>
          <p:spPr>
            <a:xfrm>
              <a:off x="1894787" y="1450088"/>
              <a:ext cx="163805" cy="90186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</p:grpSp>
      <p:grpSp>
        <p:nvGrpSpPr>
          <p:cNvPr id="12" name="SP Agenda Section">
            <a:extLst>
              <a:ext uri="{FF2B5EF4-FFF2-40B4-BE49-F238E27FC236}">
                <a16:creationId xmlns:a16="http://schemas.microsoft.com/office/drawing/2014/main" id="{EFCE7ABB-8566-41F3-A131-2A234A6C81E1}"/>
              </a:ext>
            </a:extLst>
          </p:cNvPr>
          <p:cNvGrpSpPr/>
          <p:nvPr/>
        </p:nvGrpSpPr>
        <p:grpSpPr>
          <a:xfrm>
            <a:off x="1894787" y="2593442"/>
            <a:ext cx="7992119" cy="901869"/>
            <a:chOff x="1894787" y="1450088"/>
            <a:chExt cx="7992119" cy="901869"/>
          </a:xfrm>
        </p:grpSpPr>
        <p:sp>
          <p:nvSpPr>
            <p:cNvPr id="13" name="Textbox">
              <a:hlinkClick r:id="" action="ppaction://noaction"/>
              <a:extLst>
                <a:ext uri="{FF2B5EF4-FFF2-40B4-BE49-F238E27FC236}">
                  <a16:creationId xmlns:a16="http://schemas.microsoft.com/office/drawing/2014/main" id="{F28B56B0-DC9E-4AA4-BAD9-6CC15DE5AF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7522339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/>
                <a:t>Ease day-to-day tasks related to Data Binding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0124BD3-871E-4C1B-9CCE-C1F2EB3D976F}"/>
                </a:ext>
              </a:extLst>
            </p:cNvPr>
            <p:cNvSpPr/>
            <p:nvPr userDrawn="1"/>
          </p:nvSpPr>
          <p:spPr>
            <a:xfrm>
              <a:off x="1894787" y="1450088"/>
              <a:ext cx="163805" cy="90186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err="1"/>
            </a:p>
          </p:txBody>
        </p:sp>
      </p:grpSp>
      <p:grpSp>
        <p:nvGrpSpPr>
          <p:cNvPr id="16" name="SP Agenda Section">
            <a:extLst>
              <a:ext uri="{FF2B5EF4-FFF2-40B4-BE49-F238E27FC236}">
                <a16:creationId xmlns:a16="http://schemas.microsoft.com/office/drawing/2014/main" id="{2C7E74B6-E668-443C-9D52-151A4A1631D0}"/>
              </a:ext>
            </a:extLst>
          </p:cNvPr>
          <p:cNvGrpSpPr/>
          <p:nvPr/>
        </p:nvGrpSpPr>
        <p:grpSpPr>
          <a:xfrm>
            <a:off x="1894787" y="3736796"/>
            <a:ext cx="7992119" cy="901869"/>
            <a:chOff x="1894787" y="1450088"/>
            <a:chExt cx="7992119" cy="901869"/>
          </a:xfrm>
        </p:grpSpPr>
        <p:sp>
          <p:nvSpPr>
            <p:cNvPr id="17" name="Textbox">
              <a:hlinkClick r:id="" action="ppaction://noaction"/>
              <a:extLst>
                <a:ext uri="{FF2B5EF4-FFF2-40B4-BE49-F238E27FC236}">
                  <a16:creationId xmlns:a16="http://schemas.microsoft.com/office/drawing/2014/main" id="{B626A650-1DC7-47E7-A48F-E17E549A45C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7522339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/>
                <a:t>Have fun </a:t>
              </a:r>
              <a:r>
                <a:rPr lang="en-US" sz="1600" dirty="0">
                  <a:sym typeface="Wingdings" pitchFamily="2" charset="2"/>
                </a:rPr>
                <a:t></a:t>
              </a:r>
              <a:r>
                <a:rPr lang="en-US" sz="1600" dirty="0"/>
                <a:t>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0C788A5-AAE5-4776-A359-5E2C0F541AA4}"/>
                </a:ext>
              </a:extLst>
            </p:cNvPr>
            <p:cNvSpPr/>
            <p:nvPr userDrawn="1"/>
          </p:nvSpPr>
          <p:spPr>
            <a:xfrm>
              <a:off x="1894787" y="1450088"/>
              <a:ext cx="163805" cy="90186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70824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D79FD-7FEC-F672-5A12-5AC082AAC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K" dirty="0"/>
              <a:t>Binding Class &amp; Binding Extens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BD9C52-746E-CAE6-2C9E-470D104DA3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0273AF-F648-1600-0A39-CC491B24F0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trictly confidential and proprietary information of WSA Group – DO NOT circulate further</a:t>
            </a:r>
          </a:p>
        </p:txBody>
      </p:sp>
      <p:pic>
        <p:nvPicPr>
          <p:cNvPr id="8" name="Picture 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E0B1995C-9BEF-BA8F-83DE-2F12BD36D6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000" y="1304924"/>
            <a:ext cx="7072370" cy="510179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E7E8506-7969-91EC-05FC-CFD6A1C5BF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5382" y="724750"/>
            <a:ext cx="6629687" cy="522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3574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66CA50-704D-91C5-1222-B1F171BE8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K" dirty="0"/>
              <a:t>Data Binding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E3275C-4DA2-4DF7-06DF-E0C72FB6A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August 12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04C2B-8F39-1395-5B8E-D1144D216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trictly confidential and proprietary information of WSA Group – DO NOT circulate further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36A659E-2F47-9DEB-74D1-46DECC91B6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MK"/>
          </a:p>
        </p:txBody>
      </p:sp>
      <p:pic>
        <p:nvPicPr>
          <p:cNvPr id="20" name="Picture 19" descr="Diagram&#10;&#10;Description automatically generated">
            <a:extLst>
              <a:ext uri="{FF2B5EF4-FFF2-40B4-BE49-F238E27FC236}">
                <a16:creationId xmlns:a16="http://schemas.microsoft.com/office/drawing/2014/main" id="{88FABF76-DCDB-A925-5233-395A503622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682750"/>
            <a:ext cx="11582400" cy="3492500"/>
          </a:xfrm>
          <a:prstGeom prst="rect">
            <a:avLst/>
          </a:prstGeom>
        </p:spPr>
      </p:pic>
      <p:pic>
        <p:nvPicPr>
          <p:cNvPr id="22" name="Picture 21" descr="Diagram&#10;&#10;Description automatically generated">
            <a:extLst>
              <a:ext uri="{FF2B5EF4-FFF2-40B4-BE49-F238E27FC236}">
                <a16:creationId xmlns:a16="http://schemas.microsoft.com/office/drawing/2014/main" id="{EB085680-961D-76F4-A645-A7D68E7153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682750"/>
            <a:ext cx="11582400" cy="3492500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F9478CC8-7F9F-704C-E7E6-246FBC9155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676400"/>
            <a:ext cx="11582400" cy="35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373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F2D10-BF09-AA69-85A0-0B082AD02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701" y="304380"/>
            <a:ext cx="11530598" cy="1001712"/>
          </a:xfrm>
        </p:spPr>
        <p:txBody>
          <a:bodyPr anchor="t">
            <a:normAutofit/>
          </a:bodyPr>
          <a:lstStyle/>
          <a:p>
            <a:r>
              <a:rPr lang="en-MK" dirty="0"/>
              <a:t>Binding Context &amp; Propag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2D0C7B-CA8E-10EC-0B95-C749A085E851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842175" y="6523200"/>
            <a:ext cx="1037025" cy="176675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C68BA46D-C1BE-4752-9D7D-FD8F9DF28C12}" type="datetime4">
              <a:rPr lang="en-US" smtClean="0"/>
              <a:pPr>
                <a:spcAft>
                  <a:spcPts val="600"/>
                </a:spcAft>
              </a:pPr>
              <a:t>August 12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4430CE-ABBE-63F4-6F70-37C0A1A5A63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008574" y="6523199"/>
            <a:ext cx="4449376" cy="21636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trictly confidential and proprietary information of WSA Group – DO NOT circulate further</a:t>
            </a:r>
          </a:p>
        </p:txBody>
      </p:sp>
      <p:pic>
        <p:nvPicPr>
          <p:cNvPr id="16" name="Picture 1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536A642-BF48-F4E4-8EFF-E8E8DE1A36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0631" y="643971"/>
            <a:ext cx="9186219" cy="5570057"/>
          </a:xfrm>
          <a:prstGeom prst="rect">
            <a:avLst/>
          </a:prstGeom>
        </p:spPr>
      </p:pic>
      <p:pic>
        <p:nvPicPr>
          <p:cNvPr id="18" name="Picture 17" descr="Graphical user interface&#10;&#10;Description automatically generated">
            <a:extLst>
              <a:ext uri="{FF2B5EF4-FFF2-40B4-BE49-F238E27FC236}">
                <a16:creationId xmlns:a16="http://schemas.microsoft.com/office/drawing/2014/main" id="{AD7AE1BA-AE32-2B54-9FF1-F3DCBD8277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291" y="805236"/>
            <a:ext cx="4554495" cy="4554495"/>
          </a:xfrm>
          <a:prstGeom prst="rect">
            <a:avLst/>
          </a:prstGeom>
        </p:spPr>
      </p:pic>
      <p:pic>
        <p:nvPicPr>
          <p:cNvPr id="21" name="Picture 20" descr="Graphical user interface, diagram&#10;&#10;Description automatically generated with medium confidence">
            <a:extLst>
              <a:ext uri="{FF2B5EF4-FFF2-40B4-BE49-F238E27FC236}">
                <a16:creationId xmlns:a16="http://schemas.microsoft.com/office/drawing/2014/main" id="{AF8A339C-2702-0DCF-26FB-2CC0D6A566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291" y="805235"/>
            <a:ext cx="4554495" cy="4554495"/>
          </a:xfrm>
          <a:prstGeom prst="rect">
            <a:avLst/>
          </a:prstGeom>
        </p:spPr>
      </p:pic>
      <p:pic>
        <p:nvPicPr>
          <p:cNvPr id="23" name="Picture 22" descr="Diagram&#10;&#10;Description automatically generated">
            <a:extLst>
              <a:ext uri="{FF2B5EF4-FFF2-40B4-BE49-F238E27FC236}">
                <a16:creationId xmlns:a16="http://schemas.microsoft.com/office/drawing/2014/main" id="{C684A7D0-62A3-6925-CC79-FEE2FF8B1B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291" y="805233"/>
            <a:ext cx="4554495" cy="4554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345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SP_AGENDA" val="TOC Dividers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3_gzP8_BeDqIuQhLQm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AU0004TK\AppData\Local\Temp\Templafy\PowerPointVsto\Assets\cd697b61-d73c-4b20-a3cd-55b49fb4f192.jp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17707274940030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177072749400306"/>
</p:tagLst>
</file>

<file path=ppt/theme/theme1.xml><?xml version="1.0" encoding="utf-8"?>
<a:theme xmlns:a="http://schemas.openxmlformats.org/drawingml/2006/main" name="WSA 16:9 template">
  <a:themeElements>
    <a:clrScheme name="WSA">
      <a:dk1>
        <a:srgbClr val="26242E"/>
      </a:dk1>
      <a:lt1>
        <a:srgbClr val="FFFFFF"/>
      </a:lt1>
      <a:dk2>
        <a:srgbClr val="7B7E8F"/>
      </a:dk2>
      <a:lt2>
        <a:srgbClr val="F1F0F0"/>
      </a:lt2>
      <a:accent1>
        <a:srgbClr val="7000FF"/>
      </a:accent1>
      <a:accent2>
        <a:srgbClr val="515065"/>
      </a:accent2>
      <a:accent3>
        <a:srgbClr val="FF534B"/>
      </a:accent3>
      <a:accent4>
        <a:srgbClr val="48CCF0"/>
      </a:accent4>
      <a:accent5>
        <a:srgbClr val="00B295"/>
      </a:accent5>
      <a:accent6>
        <a:srgbClr val="FF901D"/>
      </a:accent6>
      <a:hlink>
        <a:srgbClr val="7000FF"/>
      </a:hlink>
      <a:folHlink>
        <a:srgbClr val="FF901D"/>
      </a:folHlink>
    </a:clrScheme>
    <a:fontScheme name="WS Audiology">
      <a:majorFont>
        <a:latin typeface="Noto Sans"/>
        <a:ea typeface=""/>
        <a:cs typeface=""/>
      </a:majorFont>
      <a:minorFont>
        <a:latin typeface="Noto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90000" tIns="90000" rIns="90000" bIns="90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0000" tIns="90000" rIns="90000" bIns="90000" rtlCol="0">
        <a:spAutoFit/>
      </a:bodyPr>
      <a:lstStyle>
        <a:defPPr algn="l">
          <a:defRPr dirty="0" err="1"/>
        </a:defPPr>
      </a:lstStyle>
    </a:txDef>
  </a:objectDefaults>
  <a:extraClrSchemeLst/>
  <a:custClrLst>
    <a:custClr name="Signia White">
      <a:srgbClr val="FFFFFF"/>
    </a:custClr>
    <a:custClr name="Signia Dark Grey">
      <a:srgbClr val="706F6F"/>
    </a:custClr>
    <a:custClr name="Signia Light Grey">
      <a:srgbClr val="EDEDED"/>
    </a:custClr>
    <a:custClr name="Signia Black">
      <a:srgbClr val="000000"/>
    </a:custClr>
    <a:custClr name="Signia Red">
      <a:srgbClr val="DB0926"/>
    </a:custClr>
    <a:custClr name="Signia Orange">
      <a:srgbClr val="EF7D00"/>
    </a:custClr>
    <a:custClr name="Signia Magenta">
      <a:srgbClr val="E60074"/>
    </a:custClr>
    <a:custClr name="Signia Purple">
      <a:srgbClr val="5C2483"/>
    </a:custClr>
    <a:custClr name="Signia Blue">
      <a:srgbClr val="005CA9"/>
    </a:custClr>
    <a:custClr name="Signia Green">
      <a:srgbClr val="78B928"/>
    </a:custClr>
    <a:custClr name="Widex White">
      <a:srgbClr val="FFFFFF"/>
    </a:custClr>
    <a:custClr name="Widex Dark Grey">
      <a:srgbClr val="262626"/>
    </a:custClr>
    <a:custClr name="Widex White">
      <a:srgbClr val="FFFFFF"/>
    </a:custClr>
    <a:custClr name="Widex Dark Grey">
      <a:srgbClr val="262626"/>
    </a:custClr>
    <a:custClr name="Widex Blue Grey">
      <a:srgbClr val="2D3E4B"/>
    </a:custClr>
    <a:custClr name="Widex Dark Teal">
      <a:srgbClr val="00547D"/>
    </a:custClr>
    <a:custClr name="Widex Turquoise">
      <a:srgbClr val="0076AA"/>
    </a:custClr>
    <a:custClr name="Widex Blue">
      <a:srgbClr val="3D91CC"/>
    </a:custClr>
    <a:custClr name="Widex Blue-Grey">
      <a:srgbClr val="57738F"/>
    </a:custClr>
    <a:custClr name="Widex Blue-Grey">
      <a:srgbClr val="98AABA"/>
    </a:custClr>
    <a:custClr name="Rexton White">
      <a:srgbClr val="FFFFFF"/>
    </a:custClr>
    <a:custClr name="Rexton Dark Grey">
      <a:srgbClr val="414042"/>
    </a:custClr>
    <a:custClr name="Rexton White">
      <a:srgbClr val="FFFFFF"/>
    </a:custClr>
    <a:custClr name="Rexton Black">
      <a:srgbClr val="000000"/>
    </a:custClr>
    <a:custClr name="Rexton Red">
      <a:srgbClr val="C90019"/>
    </a:custClr>
    <a:custClr name="Rexton Turquoise">
      <a:srgbClr val="008AB3"/>
    </a:custClr>
    <a:custClr name="Rexton Dark Grey">
      <a:srgbClr val="414042"/>
    </a:custClr>
    <a:custClr name="Rexton Olive Green">
      <a:srgbClr val="B2BB82"/>
    </a:custClr>
    <a:custClr name="Rexton Pink">
      <a:srgbClr val="B01F5E"/>
    </a:custClr>
    <a:custClr name="Rexton Red">
      <a:srgbClr val="C90019"/>
    </a:custClr>
    <a:custClr name="A&amp;M White">
      <a:srgbClr val="FFFFFF"/>
    </a:custClr>
    <a:custClr name="A&amp;M Dark Grey">
      <a:srgbClr val="706F6F"/>
    </a:custClr>
    <a:custClr name="A&amp;M Light Grey">
      <a:srgbClr val="EDEDED"/>
    </a:custClr>
    <a:custClr name="A&amp;M Black">
      <a:srgbClr val="000000"/>
    </a:custClr>
    <a:custClr name="A&amp;M Black">
      <a:srgbClr val="000000"/>
    </a:custClr>
    <a:custClr name="A&amp;M Orange">
      <a:srgbClr val="EF7D00"/>
    </a:custClr>
    <a:custClr name="A&amp;M Grey">
      <a:srgbClr val="7F7F7F"/>
    </a:custClr>
    <a:custClr name="A&amp;M Grey">
      <a:srgbClr val="A5A5A5"/>
    </a:custClr>
    <a:custClr name="A&amp;M Light Grey">
      <a:srgbClr val="BFBFBF"/>
    </a:custClr>
    <a:custClr name="A&amp;M Light Grey">
      <a:srgbClr val="D8D8D8"/>
    </a:custClr>
    <a:custClr name="Audioservice White">
      <a:srgbClr val="FFFFFF"/>
    </a:custClr>
    <a:custClr name="Audioservice Blue-Grey">
      <a:srgbClr val="44546A"/>
    </a:custClr>
    <a:custClr name="Audioservice White">
      <a:srgbClr val="FFFFFF"/>
    </a:custClr>
    <a:custClr name="Audioservice Blue-Grey">
      <a:srgbClr val="44546A"/>
    </a:custClr>
    <a:custClr name="Audioservice Main Blue">
      <a:srgbClr val="25327B"/>
    </a:custClr>
    <a:custClr name="Audioservice Yellow">
      <a:srgbClr val="FFCC00"/>
    </a:custClr>
    <a:custClr name="Audioservice Light Green">
      <a:srgbClr val="D4E3D7"/>
    </a:custClr>
    <a:custClr name="Audioservice Light Blue">
      <a:srgbClr val="D1E1F5"/>
    </a:custClr>
    <a:custClr name="Audioservice Light Grey">
      <a:srgbClr val="F0EDEA"/>
    </a:custClr>
    <a:custClr name="Audioservice Light Pink">
      <a:srgbClr val="EBC1CE"/>
    </a:custClr>
  </a:custClrLst>
  <a:extLst>
    <a:ext uri="{05A4C25C-085E-4340-85A3-A5531E510DB2}">
      <thm15:themeFamily xmlns:thm15="http://schemas.microsoft.com/office/thememl/2012/main" name="WSA presentation template" id="{9CEBA9BA-BA46-2D42-AEE3-08A8A10B5AED}" vid="{62320FB3-3366-D443-81C8-2FDB04A2155D}"/>
    </a:ext>
  </a:extLst>
</a:theme>
</file>

<file path=ppt/theme/theme2.xml><?xml version="1.0" encoding="utf-8"?>
<a:theme xmlns:a="http://schemas.openxmlformats.org/drawingml/2006/main" name="Office Theme">
  <a:themeElements>
    <a:clrScheme name="WS Audiology">
      <a:dk1>
        <a:srgbClr val="26242E"/>
      </a:dk1>
      <a:lt1>
        <a:srgbClr val="FFFFFF"/>
      </a:lt1>
      <a:dk2>
        <a:srgbClr val="515065"/>
      </a:dk2>
      <a:lt2>
        <a:srgbClr val="F1F0F0"/>
      </a:lt2>
      <a:accent1>
        <a:srgbClr val="7000FF"/>
      </a:accent1>
      <a:accent2>
        <a:srgbClr val="515065"/>
      </a:accent2>
      <a:accent3>
        <a:srgbClr val="FF534B"/>
      </a:accent3>
      <a:accent4>
        <a:srgbClr val="48CCF0"/>
      </a:accent4>
      <a:accent5>
        <a:srgbClr val="00B295"/>
      </a:accent5>
      <a:accent6>
        <a:srgbClr val="FF901D"/>
      </a:accent6>
      <a:hlink>
        <a:srgbClr val="7000FF"/>
      </a:hlink>
      <a:folHlink>
        <a:srgbClr val="FF901D"/>
      </a:folHlink>
    </a:clrScheme>
    <a:fontScheme name="WS Audiology">
      <a:majorFont>
        <a:latin typeface="Noto Sans"/>
        <a:ea typeface=""/>
        <a:cs typeface=""/>
      </a:majorFont>
      <a:minorFont>
        <a:latin typeface="Noto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Signia White">
      <a:srgbClr val="FFFFFF"/>
    </a:custClr>
    <a:custClr name="Signia Dark Grey">
      <a:srgbClr val="706F6F"/>
    </a:custClr>
    <a:custClr name="Signia Light Grey">
      <a:srgbClr val="EDEDED"/>
    </a:custClr>
    <a:custClr name="Signia Black">
      <a:srgbClr val="000000"/>
    </a:custClr>
    <a:custClr name="Signia Red">
      <a:srgbClr val="DB0926"/>
    </a:custClr>
    <a:custClr name="Signia Orange">
      <a:srgbClr val="EF7D00"/>
    </a:custClr>
    <a:custClr name="Signia Magenta">
      <a:srgbClr val="E60074"/>
    </a:custClr>
    <a:custClr name="Signia Purple">
      <a:srgbClr val="5C2483"/>
    </a:custClr>
    <a:custClr name="Signia Blue">
      <a:srgbClr val="005CA9"/>
    </a:custClr>
    <a:custClr name="Signia Green">
      <a:srgbClr val="78B928"/>
    </a:custClr>
    <a:custClr name="Widex White">
      <a:srgbClr val="FFFFFF"/>
    </a:custClr>
    <a:custClr name="Widex Dark Grey">
      <a:srgbClr val="262626"/>
    </a:custClr>
    <a:custClr name="Widex White">
      <a:srgbClr val="FFFFFF"/>
    </a:custClr>
    <a:custClr name="Widex Dark Grey">
      <a:srgbClr val="262626"/>
    </a:custClr>
    <a:custClr name="Widex Blue Grey">
      <a:srgbClr val="2D3E4B"/>
    </a:custClr>
    <a:custClr name="Widex Dark Teal">
      <a:srgbClr val="00547D"/>
    </a:custClr>
    <a:custClr name="Widex Turquoise">
      <a:srgbClr val="0076AA"/>
    </a:custClr>
    <a:custClr name="Widex Blue">
      <a:srgbClr val="3D91CC"/>
    </a:custClr>
    <a:custClr name="Widex Blue-Grey">
      <a:srgbClr val="57738F"/>
    </a:custClr>
    <a:custClr name="Widex Blue-Grey">
      <a:srgbClr val="98AABA"/>
    </a:custClr>
    <a:custClr name="Rexton White">
      <a:srgbClr val="FFFFFF"/>
    </a:custClr>
    <a:custClr name="Rexton Dark Grey">
      <a:srgbClr val="414042"/>
    </a:custClr>
    <a:custClr name="Rexton White">
      <a:srgbClr val="FFFFFF"/>
    </a:custClr>
    <a:custClr name="Rexton Black">
      <a:srgbClr val="000000"/>
    </a:custClr>
    <a:custClr name="Rexton Red">
      <a:srgbClr val="C90019"/>
    </a:custClr>
    <a:custClr name="Rexton Turquoise">
      <a:srgbClr val="008AB3"/>
    </a:custClr>
    <a:custClr name="Rexton Dark Grey">
      <a:srgbClr val="414042"/>
    </a:custClr>
    <a:custClr name="Rexton Olive Green">
      <a:srgbClr val="B2BB82"/>
    </a:custClr>
    <a:custClr name="Rexton Pink">
      <a:srgbClr val="B01F5E"/>
    </a:custClr>
    <a:custClr name="Rexton Red">
      <a:srgbClr val="C90019"/>
    </a:custClr>
    <a:custClr name="A&amp;M White">
      <a:srgbClr val="FFFFFF"/>
    </a:custClr>
    <a:custClr name="A&amp;M Dark Grey">
      <a:srgbClr val="706F6F"/>
    </a:custClr>
    <a:custClr name="A&amp;M Light Grey">
      <a:srgbClr val="EDEDED"/>
    </a:custClr>
    <a:custClr name="A&amp;M Black">
      <a:srgbClr val="000000"/>
    </a:custClr>
    <a:custClr name="A&amp;M Black">
      <a:srgbClr val="000000"/>
    </a:custClr>
    <a:custClr name="A&amp;M Orange">
      <a:srgbClr val="EF7D00"/>
    </a:custClr>
    <a:custClr name="A&amp;M Grey">
      <a:srgbClr val="7F7F7F"/>
    </a:custClr>
    <a:custClr name="A&amp;M Grey">
      <a:srgbClr val="A5A5A5"/>
    </a:custClr>
    <a:custClr name="A&amp;M Light Grey">
      <a:srgbClr val="BFBFBF"/>
    </a:custClr>
    <a:custClr name="A&amp;M Light Grey">
      <a:srgbClr val="D8D8D8"/>
    </a:custClr>
    <a:custClr name="Audioservice White">
      <a:srgbClr val="FFFFFF"/>
    </a:custClr>
    <a:custClr name="Audioservice Blue-Grey">
      <a:srgbClr val="44546A"/>
    </a:custClr>
    <a:custClr name="Audioservice White">
      <a:srgbClr val="FFFFFF"/>
    </a:custClr>
    <a:custClr name="Audioservice Blue-Grey">
      <a:srgbClr val="44546A"/>
    </a:custClr>
    <a:custClr name="Audioservice Main Blue">
      <a:srgbClr val="25327B"/>
    </a:custClr>
    <a:custClr name="Audioservice Yellow">
      <a:srgbClr val="FFCC00"/>
    </a:custClr>
    <a:custClr name="Audioservice Light Green">
      <a:srgbClr val="D4E3D7"/>
    </a:custClr>
    <a:custClr name="Audioservice Light Blue">
      <a:srgbClr val="D1E1F5"/>
    </a:custClr>
    <a:custClr name="Audioservice Light Grey">
      <a:srgbClr val="F0EDEA"/>
    </a:custClr>
    <a:custClr name="Audioservice Light Pink">
      <a:srgbClr val="EBC1CE"/>
    </a:custClr>
  </a:custClrLst>
</a:theme>
</file>

<file path=ppt/theme/theme3.xml><?xml version="1.0" encoding="utf-8"?>
<a:theme xmlns:a="http://schemas.openxmlformats.org/drawingml/2006/main" name="Office-tema">
  <a:themeElements>
    <a:clrScheme name="WS Audiology">
      <a:dk1>
        <a:srgbClr val="26242E"/>
      </a:dk1>
      <a:lt1>
        <a:srgbClr val="FFFFFF"/>
      </a:lt1>
      <a:dk2>
        <a:srgbClr val="515065"/>
      </a:dk2>
      <a:lt2>
        <a:srgbClr val="F1F0F0"/>
      </a:lt2>
      <a:accent1>
        <a:srgbClr val="7000FF"/>
      </a:accent1>
      <a:accent2>
        <a:srgbClr val="515065"/>
      </a:accent2>
      <a:accent3>
        <a:srgbClr val="FF534B"/>
      </a:accent3>
      <a:accent4>
        <a:srgbClr val="48CCF0"/>
      </a:accent4>
      <a:accent5>
        <a:srgbClr val="00B295"/>
      </a:accent5>
      <a:accent6>
        <a:srgbClr val="FF901D"/>
      </a:accent6>
      <a:hlink>
        <a:srgbClr val="7000FF"/>
      </a:hlink>
      <a:folHlink>
        <a:srgbClr val="FF901D"/>
      </a:folHlink>
    </a:clrScheme>
    <a:fontScheme name="WS Audiology">
      <a:majorFont>
        <a:latin typeface="Noto Sans"/>
        <a:ea typeface=""/>
        <a:cs typeface=""/>
      </a:majorFont>
      <a:minorFont>
        <a:latin typeface="Noto Sans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gnia White">
      <a:srgbClr val="FFFFFF"/>
    </a:custClr>
    <a:custClr name="Signia Dark Grey">
      <a:srgbClr val="706F6F"/>
    </a:custClr>
    <a:custClr name="Signia Light Grey">
      <a:srgbClr val="EDEDED"/>
    </a:custClr>
    <a:custClr name="Signia Black">
      <a:srgbClr val="000000"/>
    </a:custClr>
    <a:custClr name="Signia Red">
      <a:srgbClr val="DB0926"/>
    </a:custClr>
    <a:custClr name="Signia Orange">
      <a:srgbClr val="EF7D00"/>
    </a:custClr>
    <a:custClr name="Signia Magenta">
      <a:srgbClr val="E60074"/>
    </a:custClr>
    <a:custClr name="Signia Purple">
      <a:srgbClr val="5C2483"/>
    </a:custClr>
    <a:custClr name="Signia Blue">
      <a:srgbClr val="005CA9"/>
    </a:custClr>
    <a:custClr name="Signia Green">
      <a:srgbClr val="78B928"/>
    </a:custClr>
    <a:custClr name="Widex White">
      <a:srgbClr val="FFFFFF"/>
    </a:custClr>
    <a:custClr name="Widex Dark Grey">
      <a:srgbClr val="262626"/>
    </a:custClr>
    <a:custClr name="Widex White">
      <a:srgbClr val="FFFFFF"/>
    </a:custClr>
    <a:custClr name="Widex Dark Grey">
      <a:srgbClr val="262626"/>
    </a:custClr>
    <a:custClr name="Widex Blue Grey">
      <a:srgbClr val="2D3E4B"/>
    </a:custClr>
    <a:custClr name="Widex Dark Teal">
      <a:srgbClr val="00547D"/>
    </a:custClr>
    <a:custClr name="Widex Turquoise">
      <a:srgbClr val="0076AA"/>
    </a:custClr>
    <a:custClr name="Widex Blue">
      <a:srgbClr val="3D91CC"/>
    </a:custClr>
    <a:custClr name="Widex Blue-Grey">
      <a:srgbClr val="57738F"/>
    </a:custClr>
    <a:custClr name="Widex Blue-Grey">
      <a:srgbClr val="98AABA"/>
    </a:custClr>
    <a:custClr name="Rexton White">
      <a:srgbClr val="FFFFFF"/>
    </a:custClr>
    <a:custClr name="Rexton Dark Grey">
      <a:srgbClr val="414042"/>
    </a:custClr>
    <a:custClr name="Rexton White">
      <a:srgbClr val="FFFFFF"/>
    </a:custClr>
    <a:custClr name="Rexton Black">
      <a:srgbClr val="000000"/>
    </a:custClr>
    <a:custClr name="Rexton Red">
      <a:srgbClr val="C90019"/>
    </a:custClr>
    <a:custClr name="Rexton Turquoise">
      <a:srgbClr val="008AB3"/>
    </a:custClr>
    <a:custClr name="Rexton Dark Grey">
      <a:srgbClr val="414042"/>
    </a:custClr>
    <a:custClr name="Rexton Olive Green">
      <a:srgbClr val="B2BB82"/>
    </a:custClr>
    <a:custClr name="Rexton Pink">
      <a:srgbClr val="B01F5E"/>
    </a:custClr>
    <a:custClr name="Rexton Red">
      <a:srgbClr val="C90019"/>
    </a:custClr>
    <a:custClr name="A&amp;M White">
      <a:srgbClr val="FFFFFF"/>
    </a:custClr>
    <a:custClr name="A&amp;M Dark Grey">
      <a:srgbClr val="706F6F"/>
    </a:custClr>
    <a:custClr name="A&amp;M Light Grey">
      <a:srgbClr val="EDEDED"/>
    </a:custClr>
    <a:custClr name="A&amp;M Black">
      <a:srgbClr val="000000"/>
    </a:custClr>
    <a:custClr name="A&amp;M Black">
      <a:srgbClr val="000000"/>
    </a:custClr>
    <a:custClr name="A&amp;M Orange">
      <a:srgbClr val="EF7D00"/>
    </a:custClr>
    <a:custClr name="A&amp;M Grey">
      <a:srgbClr val="7F7F7F"/>
    </a:custClr>
    <a:custClr name="A&amp;M Grey">
      <a:srgbClr val="A5A5A5"/>
    </a:custClr>
    <a:custClr name="A&amp;M Light Grey">
      <a:srgbClr val="BFBFBF"/>
    </a:custClr>
    <a:custClr name="A&amp;M Light Grey">
      <a:srgbClr val="D8D8D8"/>
    </a:custClr>
    <a:custClr name="Audioservice White">
      <a:srgbClr val="FFFFFF"/>
    </a:custClr>
    <a:custClr name="Audioservice Blue-Grey">
      <a:srgbClr val="44546A"/>
    </a:custClr>
    <a:custClr name="Audioservice White">
      <a:srgbClr val="FFFFFF"/>
    </a:custClr>
    <a:custClr name="Audioservice Blue-Grey">
      <a:srgbClr val="44546A"/>
    </a:custClr>
    <a:custClr name="Audioservice Main Blue">
      <a:srgbClr val="25327B"/>
    </a:custClr>
    <a:custClr name="Audioservice Yellow">
      <a:srgbClr val="FFCC00"/>
    </a:custClr>
    <a:custClr name="Audioservice Light Green">
      <a:srgbClr val="D4E3D7"/>
    </a:custClr>
    <a:custClr name="Audioservice Light Blue">
      <a:srgbClr val="D1E1F5"/>
    </a:custClr>
    <a:custClr name="Audioservice Light Grey">
      <a:srgbClr val="F0EDEA"/>
    </a:custClr>
    <a:custClr name="Audioservice Light Pink">
      <a:srgbClr val="EBC1CE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st xmlns="afd9de21-a2bd-48c5-a1e2-b2287e6a9a08">
      <Url xsi:nil="true"/>
      <Description xsi:nil="true"/>
    </test>
    <https_x003a__x002f__x002f_sivantos_x002e_sharepoint_x002e_com_x002f__x003a_p_x003a__x002f_s_x002f_TruHearingWellbeing_x002f_EeQKTgOkO1ZHlQSi2_x002d_dl5ZgBD4Who_x002d_pRCVoA6Mc51Jz0qw_x003f_e_x003d_hgOg62 xmlns="afd9de21-a2bd-48c5-a1e2-b2287e6a9a08">
      <Url xsi:nil="true"/>
      <Description xsi:nil="true"/>
    </https_x003a__x002f__x002f_sivantos_x002e_sharepoint_x002e_com_x002f__x003a_p_x003a__x002f_s_x002f_TruHearingWellbeing_x002f_EeQKTgOkO1ZHlQSi2_x002d_dl5ZgBD4Who_x002d_pRCVoA6Mc51Jz0qw_x003f_e_x003d_hgOg62>
    <ValueProp xmlns="afd9de21-a2bd-48c5-a1e2-b2287e6a9a08">
      <Url xsi:nil="true"/>
      <Description xsi:nil="true"/>
    </ValueProp>
  </documentManagement>
</p:properties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FormConfiguration><![CDATA[{"formFields":[],"formDataEntries":[]}]]></TemplafyFormConfiguration>
</file>

<file path=customXml/item14.xml><?xml version="1.0" encoding="utf-8"?>
<TemplafySlideTemplateConfiguration><![CDATA[{"slideVersion":0,"isValidatorEnabled":false,"isLocked":false,"elementsMetadata":[],"slideId":"637353153550273070","enableDocumentContentUpdater":true,"version":"1.12"}]]></TemplafySlideTemplateConfiguration>
</file>

<file path=customXml/item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TemplafySlideTemplateConfiguration><![CDATA[{"slideVersion":0,"isValidatorEnabled":false,"isLocked":false,"elementsMetadata":[],"slideId":"637353153550273069","enableDocumentContentUpdater":true,"version":"1.12"}]]></TemplafySlideTemplate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slideVersion":0,"isValidatorEnabled":false,"isLocked":false,"elementsMetadata":[],"slideId":"637515741762275424","enableDocumentContentUpdater":true,"version":"1.12"}]]></TemplafySlideTemplateConfiguration>
</file>

<file path=customXml/item5.xml><?xml version="1.0" encoding="utf-8"?>
<TemplafyTemplateConfiguration><![CDATA[{"elementsMetadata":[],"transformationConfigurations":[],"templateName":"","templateDescription":"","enableDocumentContentUpdater":true,"version":"1.12"}]]></TemplafyTemplateConfiguration>
</file>

<file path=customXml/item6.xml><?xml version="1.0" encoding="utf-8"?>
<TemplafySlideTemplateConfiguration><![CDATA[{"slideVersion":0,"isValidatorEnabled":false,"isLocked":false,"elementsMetadata":[],"slideId":"637515741762275426","enableDocumentContentUpdater":true,"version":"1.12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B9FB49F09548449B3DD28B04C3B8B3" ma:contentTypeVersion="15" ma:contentTypeDescription="Create a new document." ma:contentTypeScope="" ma:versionID="28e2f03fa99eeaa2c6ed382a098943c1">
  <xsd:schema xmlns:xsd="http://www.w3.org/2001/XMLSchema" xmlns:xs="http://www.w3.org/2001/XMLSchema" xmlns:p="http://schemas.microsoft.com/office/2006/metadata/properties" xmlns:ns2="afd9de21-a2bd-48c5-a1e2-b2287e6a9a08" xmlns:ns3="e6438a86-50f0-4b08-a559-a69a2decf6f0" targetNamespace="http://schemas.microsoft.com/office/2006/metadata/properties" ma:root="true" ma:fieldsID="eb7fb6ffde875688c7cf36472d84daa3" ns2:_="" ns3:_="">
    <xsd:import namespace="afd9de21-a2bd-48c5-a1e2-b2287e6a9a08"/>
    <xsd:import namespace="e6438a86-50f0-4b08-a559-a69a2decf6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ValueProp" minOccurs="0"/>
                <xsd:element ref="ns2:test" minOccurs="0"/>
                <xsd:element ref="ns2:https_x003a__x002f__x002f_sivantos_x002e_sharepoint_x002e_com_x002f__x003a_p_x003a__x002f_s_x002f_TruHearingWellbeing_x002f_EeQKTgOkO1ZHlQSi2_x002d_dl5ZgBD4Who_x002d_pRCVoA6Mc51Jz0qw_x003f_e_x003d_hgOg62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d9de21-a2bd-48c5-a1e2-b2287e6a9a0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ValueProp" ma:index="10" nillable="true" ma:displayName="ValueProp" ma:description="test" ma:format="Hyperlink" ma:internalName="ValueProp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test" ma:index="11" nillable="true" ma:displayName="test" ma:description="https://sivantos.sharepoint.com/:p:/s/TruHearingWellbeing/EeQKTgOkO1ZHlQSi2-dl5ZgBD4Who-pRCVoA6Mc51Jz0qw?e=hgOg62" ma:format="Hyperlink" ma:internalName="tes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https_x003a__x002f__x002f_sivantos_x002e_sharepoint_x002e_com_x002f__x003a_p_x003a__x002f_s_x002f_TruHearingWellbeing_x002f_EeQKTgOkO1ZHlQSi2_x002d_dl5ZgBD4Who_x002d_pRCVoA6Mc51Jz0qw_x003f_e_x003d_hgOg62" ma:index="12" nillable="true" ma:displayName="https://sivantos.sharepoint.com/:p:/s/TruHearingWellbeing/EeQKTgOkO1ZHlQSi2-dl5ZgBD4Who-pRCVoA6Mc51Jz0qw?e=hgOg62" ma:format="Hyperlink" ma:internalName="https_x003a__x002f__x002f_sivantos_x002e_sharepoint_x002e_com_x002f__x003a_p_x003a__x002f_s_x002f_TruHearingWellbeing_x002f_EeQKTgOkO1ZHlQSi2_x002d_dl5ZgBD4Who_x002d_pRCVoA6Mc51Jz0qw_x003f_e_x003d_hgOg62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438a86-50f0-4b08-a559-a69a2decf6f0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.xml><?xml version="1.0" encoding="utf-8"?>
<TemplafySlideTemplateConfiguration><![CDATA[{"slideVersion":0,"isValidatorEnabled":false,"isLocked":false,"elementsMetadata":[],"slideId":"637515741762275424","enableDocumentContentUpdater":true,"version":"1.12"}]]></TemplafySlideTemplateConfiguration>
</file>

<file path=customXml/itemProps1.xml><?xml version="1.0" encoding="utf-8"?>
<ds:datastoreItem xmlns:ds="http://schemas.openxmlformats.org/officeDocument/2006/customXml" ds:itemID="{A5CA00F3-9D73-4C81-B769-9A8D4D7A7376}">
  <ds:schemaRefs/>
</ds:datastoreItem>
</file>

<file path=customXml/itemProps10.xml><?xml version="1.0" encoding="utf-8"?>
<ds:datastoreItem xmlns:ds="http://schemas.openxmlformats.org/officeDocument/2006/customXml" ds:itemID="{1D011731-F6DE-4F8A-A002-262F5B0F198B}">
  <ds:schemaRefs/>
</ds:datastoreItem>
</file>

<file path=customXml/itemProps11.xml><?xml version="1.0" encoding="utf-8"?>
<ds:datastoreItem xmlns:ds="http://schemas.openxmlformats.org/officeDocument/2006/customXml" ds:itemID="{3E2B3875-4BB7-4008-9093-1D13C0F363F0}">
  <ds:schemaRefs>
    <ds:schemaRef ds:uri="http://purl.org/dc/elements/1.1/"/>
    <ds:schemaRef ds:uri="http://schemas.microsoft.com/office/2006/metadata/properties"/>
    <ds:schemaRef ds:uri="f1fce164-ff91-4f35-a561-7946d64b8e34"/>
    <ds:schemaRef ds:uri="http://purl.org/dc/terms/"/>
    <ds:schemaRef ds:uri="http://schemas.microsoft.com/office/infopath/2007/PartnerControls"/>
    <ds:schemaRef ds:uri="http://schemas.microsoft.com/office/2006/documentManagement/types"/>
    <ds:schemaRef ds:uri="1ad546ee-8509-4603-9c97-c88169dc5d12"/>
    <ds:schemaRef ds:uri="http://schemas.openxmlformats.org/package/2006/metadata/core-properties"/>
    <ds:schemaRef ds:uri="http://www.w3.org/XML/1998/namespace"/>
    <ds:schemaRef ds:uri="http://purl.org/dc/dcmitype/"/>
    <ds:schemaRef ds:uri="afd9de21-a2bd-48c5-a1e2-b2287e6a9a08"/>
  </ds:schemaRefs>
</ds:datastoreItem>
</file>

<file path=customXml/itemProps12.xml><?xml version="1.0" encoding="utf-8"?>
<ds:datastoreItem xmlns:ds="http://schemas.openxmlformats.org/officeDocument/2006/customXml" ds:itemID="{E6D56444-69E4-444E-9788-45D811BA7041}">
  <ds:schemaRefs/>
</ds:datastoreItem>
</file>

<file path=customXml/itemProps13.xml><?xml version="1.0" encoding="utf-8"?>
<ds:datastoreItem xmlns:ds="http://schemas.openxmlformats.org/officeDocument/2006/customXml" ds:itemID="{88096CA9-54A8-489F-BCD2-6A8CB4DD93A6}">
  <ds:schemaRefs/>
</ds:datastoreItem>
</file>

<file path=customXml/itemProps14.xml><?xml version="1.0" encoding="utf-8"?>
<ds:datastoreItem xmlns:ds="http://schemas.openxmlformats.org/officeDocument/2006/customXml" ds:itemID="{2C132BFC-5F6F-463F-B299-7EAC174B11C3}">
  <ds:schemaRefs/>
</ds:datastoreItem>
</file>

<file path=customXml/itemProps15.xml><?xml version="1.0" encoding="utf-8"?>
<ds:datastoreItem xmlns:ds="http://schemas.openxmlformats.org/officeDocument/2006/customXml" ds:itemID="{22E0E15E-7E7E-4D6C-A287-FF6FC81F1C8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83E3C00-C323-4F75-BE99-EA3F2D193664}">
  <ds:schemaRefs/>
</ds:datastoreItem>
</file>

<file path=customXml/itemProps3.xml><?xml version="1.0" encoding="utf-8"?>
<ds:datastoreItem xmlns:ds="http://schemas.openxmlformats.org/officeDocument/2006/customXml" ds:itemID="{142B8CC7-7044-44A9-9579-1B315E9D22F6}">
  <ds:schemaRefs/>
</ds:datastoreItem>
</file>

<file path=customXml/itemProps4.xml><?xml version="1.0" encoding="utf-8"?>
<ds:datastoreItem xmlns:ds="http://schemas.openxmlformats.org/officeDocument/2006/customXml" ds:itemID="{AA26C085-BF20-40FB-9D11-22BEB6EDF4D3}">
  <ds:schemaRefs/>
</ds:datastoreItem>
</file>

<file path=customXml/itemProps5.xml><?xml version="1.0" encoding="utf-8"?>
<ds:datastoreItem xmlns:ds="http://schemas.openxmlformats.org/officeDocument/2006/customXml" ds:itemID="{D54DF68A-E2AE-4A88-A9FA-A502E4538A2B}">
  <ds:schemaRefs/>
</ds:datastoreItem>
</file>

<file path=customXml/itemProps6.xml><?xml version="1.0" encoding="utf-8"?>
<ds:datastoreItem xmlns:ds="http://schemas.openxmlformats.org/officeDocument/2006/customXml" ds:itemID="{9DCC3DEE-DC31-4FFD-850C-BE6422EA0371}">
  <ds:schemaRefs/>
</ds:datastoreItem>
</file>

<file path=customXml/itemProps7.xml><?xml version="1.0" encoding="utf-8"?>
<ds:datastoreItem xmlns:ds="http://schemas.openxmlformats.org/officeDocument/2006/customXml" ds:itemID="{E6FD6759-67FA-47EB-A4DA-AD064EF33423}">
  <ds:schemaRefs/>
</ds:datastoreItem>
</file>

<file path=customXml/itemProps8.xml><?xml version="1.0" encoding="utf-8"?>
<ds:datastoreItem xmlns:ds="http://schemas.openxmlformats.org/officeDocument/2006/customXml" ds:itemID="{E3443C11-9CDD-4BA1-80AF-EA45E92FEA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fd9de21-a2bd-48c5-a1e2-b2287e6a9a08"/>
    <ds:schemaRef ds:uri="e6438a86-50f0-4b08-a559-a69a2decf6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9.xml><?xml version="1.0" encoding="utf-8"?>
<ds:datastoreItem xmlns:ds="http://schemas.openxmlformats.org/officeDocument/2006/customXml" ds:itemID="{CE1C2DCB-6718-4A46-BAC8-45229A0750C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91024_WSA master ppt templates_final</Template>
  <TotalTime>0</TotalTime>
  <Words>128</Words>
  <Application>Microsoft Macintosh PowerPoint</Application>
  <PresentationFormat>Widescreen</PresentationFormat>
  <Paragraphs>28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Wingdings</vt:lpstr>
      <vt:lpstr>Noto Sans</vt:lpstr>
      <vt:lpstr>WSA 16:9 template</vt:lpstr>
      <vt:lpstr>think-cell Slide</vt:lpstr>
      <vt:lpstr>Data Binding Magic Ivan Djikovski</vt:lpstr>
      <vt:lpstr>PowerPoint Presentation</vt:lpstr>
      <vt:lpstr>PowerPoint Presentation</vt:lpstr>
      <vt:lpstr>Binding Class &amp; Binding Extension</vt:lpstr>
      <vt:lpstr>Data Binding</vt:lpstr>
      <vt:lpstr>Binding Context &amp; Propag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/>
  <cp:lastModifiedBy/>
  <cp:revision>1</cp:revision>
  <dcterms:created xsi:type="dcterms:W3CDTF">2019-10-24T12:05:58Z</dcterms:created>
  <dcterms:modified xsi:type="dcterms:W3CDTF">2022-08-12T14:2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:">
    <vt:lpwstr>www.skabelon.dk</vt:lpwstr>
  </property>
  <property fmtid="{D5CDD505-2E9C-101B-9397-08002B2CF9AE}" pid="3" name="TemplafyTimeStamp">
    <vt:lpwstr>2021-03-17T10:36:10.4405348Z</vt:lpwstr>
  </property>
  <property fmtid="{D5CDD505-2E9C-101B-9397-08002B2CF9AE}" pid="4" name="CustomerId">
    <vt:lpwstr>wsaudiology</vt:lpwstr>
  </property>
  <property fmtid="{D5CDD505-2E9C-101B-9397-08002B2CF9AE}" pid="5" name="TemplateId">
    <vt:lpwstr>637146803721678561</vt:lpwstr>
  </property>
  <property fmtid="{D5CDD505-2E9C-101B-9397-08002B2CF9AE}" pid="6" name="UserProfileId">
    <vt:lpwstr>637147830062473300</vt:lpwstr>
  </property>
  <property fmtid="{D5CDD505-2E9C-101B-9397-08002B2CF9AE}" pid="7" name="ContentTypeId">
    <vt:lpwstr>0x010100E0B9FB49F09548449B3DD28B04C3B8B3</vt:lpwstr>
  </property>
  <property fmtid="{D5CDD505-2E9C-101B-9397-08002B2CF9AE}" pid="8" name="TemplafyTenantId">
    <vt:lpwstr>wsaudiology</vt:lpwstr>
  </property>
  <property fmtid="{D5CDD505-2E9C-101B-9397-08002B2CF9AE}" pid="9" name="TemplafyTemplateId">
    <vt:lpwstr>637353153546183407</vt:lpwstr>
  </property>
  <property fmtid="{D5CDD505-2E9C-101B-9397-08002B2CF9AE}" pid="10" name="TemplafyUserProfileId">
    <vt:lpwstr>637807640149236507</vt:lpwstr>
  </property>
</Properties>
</file>